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sldIdLst>
    <p:sldId id="256" r:id="rId2"/>
    <p:sldId id="281" r:id="rId3"/>
    <p:sldId id="282" r:id="rId4"/>
    <p:sldId id="283" r:id="rId5"/>
  </p:sldIdLst>
  <p:sldSz cx="12192000" cy="6858000"/>
  <p:notesSz cx="6858000" cy="9144000"/>
  <p:custDataLst>
    <p:tags r:id="rId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6Z/BPQEU27zoLbGohKLq5Q==" hashData="WDAnBp0to0/d5YIHjJerZvy/MNBt7jdsvYvgExtQOSlbkC1Ls1hvK+v6J4qTNc0xXkTgEDrWGzD2cNOrM4/pew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4766"/>
    <a:srgbClr val="4A5479"/>
    <a:srgbClr val="E4E4EF"/>
    <a:srgbClr val="666666"/>
    <a:srgbClr val="0E457D"/>
    <a:srgbClr val="172F47"/>
    <a:srgbClr val="13529F"/>
    <a:srgbClr val="C5C4D7"/>
    <a:srgbClr val="C8E3F2"/>
    <a:srgbClr val="72A9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9" autoAdjust="0"/>
    <p:restoredTop sz="96201" autoAdjust="0"/>
  </p:normalViewPr>
  <p:slideViewPr>
    <p:cSldViewPr snapToGrid="0">
      <p:cViewPr varScale="1">
        <p:scale>
          <a:sx n="81" d="100"/>
          <a:sy n="81" d="100"/>
        </p:scale>
        <p:origin x="54" y="2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2/3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401324"/>
            <a:ext cx="5844995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924607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C152D1D-7FDA-4B90-AB7A-0D4131DCD89B}"/>
              </a:ext>
            </a:extLst>
          </p:cNvPr>
          <p:cNvSpPr/>
          <p:nvPr userDrawn="1"/>
        </p:nvSpPr>
        <p:spPr>
          <a:xfrm>
            <a:off x="0" y="4674818"/>
            <a:ext cx="12192000" cy="21831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24440" y="2701326"/>
            <a:ext cx="5419185" cy="580635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25556" y="3281962"/>
            <a:ext cx="5419185" cy="50622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73CB0458-96D7-47CF-9D9D-77DA477EE7F0}"/>
              </a:ext>
            </a:extLst>
          </p:cNvPr>
          <p:cNvGrpSpPr/>
          <p:nvPr userDrawn="1"/>
        </p:nvGrpSpPr>
        <p:grpSpPr>
          <a:xfrm>
            <a:off x="8700713" y="761637"/>
            <a:ext cx="3096562" cy="1915293"/>
            <a:chOff x="9312516" y="4779135"/>
            <a:chExt cx="2222733" cy="1374810"/>
          </a:xfrm>
        </p:grpSpPr>
        <p:sp>
          <p:nvSpPr>
            <p:cNvPr id="7" name="íšḷiḑe">
              <a:extLst>
                <a:ext uri="{FF2B5EF4-FFF2-40B4-BE49-F238E27FC236}">
                  <a16:creationId xmlns:a16="http://schemas.microsoft.com/office/drawing/2014/main" id="{BBF7B166-F012-4D09-959C-4D071E0F42DE}"/>
                </a:ext>
              </a:extLst>
            </p:cNvPr>
            <p:cNvSpPr/>
            <p:nvPr userDrawn="1"/>
          </p:nvSpPr>
          <p:spPr bwMode="auto">
            <a:xfrm>
              <a:off x="9916599" y="5070761"/>
              <a:ext cx="1084410" cy="1083184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îṩ1iḑé">
              <a:extLst>
                <a:ext uri="{FF2B5EF4-FFF2-40B4-BE49-F238E27FC236}">
                  <a16:creationId xmlns:a16="http://schemas.microsoft.com/office/drawing/2014/main" id="{BB1C054C-DB73-4138-B806-4B5EB9C7420E}"/>
                </a:ext>
              </a:extLst>
            </p:cNvPr>
            <p:cNvSpPr/>
            <p:nvPr userDrawn="1"/>
          </p:nvSpPr>
          <p:spPr bwMode="auto">
            <a:xfrm>
              <a:off x="11057374" y="5366064"/>
              <a:ext cx="477875" cy="47787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ṧ1îďê">
              <a:extLst>
                <a:ext uri="{FF2B5EF4-FFF2-40B4-BE49-F238E27FC236}">
                  <a16:creationId xmlns:a16="http://schemas.microsoft.com/office/drawing/2014/main" id="{16C7EFBB-8B52-4753-A58C-9737A95284BA}"/>
                </a:ext>
              </a:extLst>
            </p:cNvPr>
            <p:cNvSpPr/>
            <p:nvPr userDrawn="1"/>
          </p:nvSpPr>
          <p:spPr bwMode="auto">
            <a:xfrm>
              <a:off x="9312516" y="4779135"/>
              <a:ext cx="705785" cy="70333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B0875522-35FC-4DA1-B665-D5DB5E42C0E0}"/>
              </a:ext>
            </a:extLst>
          </p:cNvPr>
          <p:cNvGrpSpPr/>
          <p:nvPr userDrawn="1"/>
        </p:nvGrpSpPr>
        <p:grpSpPr>
          <a:xfrm>
            <a:off x="1589080" y="2450591"/>
            <a:ext cx="4506920" cy="3655809"/>
            <a:chOff x="1550010" y="2249015"/>
            <a:chExt cx="3756836" cy="3047375"/>
          </a:xfrm>
        </p:grpSpPr>
        <p:sp>
          <p:nvSpPr>
            <p:cNvPr id="5" name="îṣḷïde">
              <a:extLst>
                <a:ext uri="{FF2B5EF4-FFF2-40B4-BE49-F238E27FC236}">
                  <a16:creationId xmlns:a16="http://schemas.microsoft.com/office/drawing/2014/main" id="{BED1DF99-7A96-4F7F-A74F-51B366972BBE}"/>
                </a:ext>
              </a:extLst>
            </p:cNvPr>
            <p:cNvSpPr/>
            <p:nvPr userDrawn="1"/>
          </p:nvSpPr>
          <p:spPr bwMode="auto">
            <a:xfrm>
              <a:off x="1812229" y="2882506"/>
              <a:ext cx="482777" cy="113587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ïšḻíḍê">
              <a:extLst>
                <a:ext uri="{FF2B5EF4-FFF2-40B4-BE49-F238E27FC236}">
                  <a16:creationId xmlns:a16="http://schemas.microsoft.com/office/drawing/2014/main" id="{F2FB9165-B44D-49A5-8EE3-8C1F5AEB10AC}"/>
                </a:ext>
              </a:extLst>
            </p:cNvPr>
            <p:cNvSpPr/>
            <p:nvPr userDrawn="1"/>
          </p:nvSpPr>
          <p:spPr bwMode="auto">
            <a:xfrm>
              <a:off x="2215360" y="2882506"/>
              <a:ext cx="79646" cy="189925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íşlïďê">
              <a:extLst>
                <a:ext uri="{FF2B5EF4-FFF2-40B4-BE49-F238E27FC236}">
                  <a16:creationId xmlns:a16="http://schemas.microsoft.com/office/drawing/2014/main" id="{EF4DD151-9136-4644-977B-B301244A42EC}"/>
                </a:ext>
              </a:extLst>
            </p:cNvPr>
            <p:cNvSpPr/>
            <p:nvPr userDrawn="1"/>
          </p:nvSpPr>
          <p:spPr bwMode="auto">
            <a:xfrm>
              <a:off x="1550010" y="4018379"/>
              <a:ext cx="3756836" cy="96801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śḷïdè">
              <a:extLst>
                <a:ext uri="{FF2B5EF4-FFF2-40B4-BE49-F238E27FC236}">
                  <a16:creationId xmlns:a16="http://schemas.microsoft.com/office/drawing/2014/main" id="{EE22E615-34E2-416D-B8D3-1D65A18F994A}"/>
                </a:ext>
              </a:extLst>
            </p:cNvPr>
            <p:cNvSpPr/>
            <p:nvPr userDrawn="1"/>
          </p:nvSpPr>
          <p:spPr bwMode="auto">
            <a:xfrm>
              <a:off x="1552460" y="4086998"/>
              <a:ext cx="3750710" cy="2818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ṥlïḋê">
              <a:extLst>
                <a:ext uri="{FF2B5EF4-FFF2-40B4-BE49-F238E27FC236}">
                  <a16:creationId xmlns:a16="http://schemas.microsoft.com/office/drawing/2014/main" id="{315A3D9D-1102-48B0-A564-E74F7009667E}"/>
                </a:ext>
              </a:extLst>
            </p:cNvPr>
            <p:cNvSpPr/>
            <p:nvPr userDrawn="1"/>
          </p:nvSpPr>
          <p:spPr bwMode="auto">
            <a:xfrm>
              <a:off x="2677305" y="3966915"/>
              <a:ext cx="1357656" cy="51464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ṣľíḑê">
              <a:extLst>
                <a:ext uri="{FF2B5EF4-FFF2-40B4-BE49-F238E27FC236}">
                  <a16:creationId xmlns:a16="http://schemas.microsoft.com/office/drawing/2014/main" id="{078083A2-DB7F-42B5-B496-2A6C2E587A08}"/>
                </a:ext>
              </a:extLst>
            </p:cNvPr>
            <p:cNvSpPr/>
            <p:nvPr userDrawn="1"/>
          </p:nvSpPr>
          <p:spPr bwMode="auto">
            <a:xfrm>
              <a:off x="2815767" y="3966915"/>
              <a:ext cx="1357656" cy="51464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ṩ1idè">
              <a:extLst>
                <a:ext uri="{FF2B5EF4-FFF2-40B4-BE49-F238E27FC236}">
                  <a16:creationId xmlns:a16="http://schemas.microsoft.com/office/drawing/2014/main" id="{925A7F4F-9393-4A6E-AB5E-A72DC0C5DEB3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360107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ŝḻïḓè">
              <a:extLst>
                <a:ext uri="{FF2B5EF4-FFF2-40B4-BE49-F238E27FC236}">
                  <a16:creationId xmlns:a16="http://schemas.microsoft.com/office/drawing/2014/main" id="{D8BFD442-D594-48CD-BFD9-27A76F60FD25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42137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ṧľîḑe">
              <a:extLst>
                <a:ext uri="{FF2B5EF4-FFF2-40B4-BE49-F238E27FC236}">
                  <a16:creationId xmlns:a16="http://schemas.microsoft.com/office/drawing/2014/main" id="{D6EB4CD3-AFB2-40B4-BF20-EB2838BD74C1}"/>
                </a:ext>
              </a:extLst>
            </p:cNvPr>
            <p:cNvSpPr/>
            <p:nvPr userDrawn="1"/>
          </p:nvSpPr>
          <p:spPr bwMode="auto">
            <a:xfrm>
              <a:off x="3604874" y="2992784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sļídè">
              <a:extLst>
                <a:ext uri="{FF2B5EF4-FFF2-40B4-BE49-F238E27FC236}">
                  <a16:creationId xmlns:a16="http://schemas.microsoft.com/office/drawing/2014/main" id="{E324133B-E87D-425B-A318-CC5D87EDABD6}"/>
                </a:ext>
              </a:extLst>
            </p:cNvPr>
            <p:cNvSpPr/>
            <p:nvPr userDrawn="1"/>
          </p:nvSpPr>
          <p:spPr bwMode="auto">
            <a:xfrm>
              <a:off x="3604874" y="3092036"/>
              <a:ext cx="374948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Slíḑè">
              <a:extLst>
                <a:ext uri="{FF2B5EF4-FFF2-40B4-BE49-F238E27FC236}">
                  <a16:creationId xmlns:a16="http://schemas.microsoft.com/office/drawing/2014/main" id="{B2D0AA01-C38D-452E-ACBD-0568883C121C}"/>
                </a:ext>
              </a:extLst>
            </p:cNvPr>
            <p:cNvSpPr/>
            <p:nvPr userDrawn="1"/>
          </p:nvSpPr>
          <p:spPr bwMode="auto">
            <a:xfrm>
              <a:off x="4017808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slíďê">
              <a:extLst>
                <a:ext uri="{FF2B5EF4-FFF2-40B4-BE49-F238E27FC236}">
                  <a16:creationId xmlns:a16="http://schemas.microsoft.com/office/drawing/2014/main" id="{FCE60FEC-D87E-4560-A5D3-E0F0760BF388}"/>
                </a:ext>
              </a:extLst>
            </p:cNvPr>
            <p:cNvSpPr/>
            <p:nvPr userDrawn="1"/>
          </p:nvSpPr>
          <p:spPr bwMode="auto">
            <a:xfrm>
              <a:off x="3604874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ṥļïďé">
              <a:extLst>
                <a:ext uri="{FF2B5EF4-FFF2-40B4-BE49-F238E27FC236}">
                  <a16:creationId xmlns:a16="http://schemas.microsoft.com/office/drawing/2014/main" id="{CD187B4A-8793-4B98-B3FF-0D759A860AA6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ďê">
              <a:extLst>
                <a:ext uri="{FF2B5EF4-FFF2-40B4-BE49-F238E27FC236}">
                  <a16:creationId xmlns:a16="http://schemas.microsoft.com/office/drawing/2014/main" id="{6B165554-4AD0-44E9-AD3A-E4A5D098812C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îṩḻiḓê">
              <a:extLst>
                <a:ext uri="{FF2B5EF4-FFF2-40B4-BE49-F238E27FC236}">
                  <a16:creationId xmlns:a16="http://schemas.microsoft.com/office/drawing/2014/main" id="{3250146E-631A-4625-B9E1-864B92989FE5}"/>
                </a:ext>
              </a:extLst>
            </p:cNvPr>
            <p:cNvSpPr/>
            <p:nvPr userDrawn="1"/>
          </p:nvSpPr>
          <p:spPr bwMode="auto">
            <a:xfrm>
              <a:off x="3974922" y="2992784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ŝ1îḍê">
              <a:extLst>
                <a:ext uri="{FF2B5EF4-FFF2-40B4-BE49-F238E27FC236}">
                  <a16:creationId xmlns:a16="http://schemas.microsoft.com/office/drawing/2014/main" id="{18E97B02-E3C2-48C4-8BE8-5C32C2AAC097}"/>
                </a:ext>
              </a:extLst>
            </p:cNvPr>
            <p:cNvSpPr/>
            <p:nvPr userDrawn="1"/>
          </p:nvSpPr>
          <p:spPr bwMode="auto">
            <a:xfrm>
              <a:off x="3604874" y="2523487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ṩ1îďé">
              <a:extLst>
                <a:ext uri="{FF2B5EF4-FFF2-40B4-BE49-F238E27FC236}">
                  <a16:creationId xmlns:a16="http://schemas.microsoft.com/office/drawing/2014/main" id="{347CD443-7B9F-4360-8866-630189E1B829}"/>
                </a:ext>
              </a:extLst>
            </p:cNvPr>
            <p:cNvSpPr/>
            <p:nvPr userDrawn="1"/>
          </p:nvSpPr>
          <p:spPr bwMode="auto">
            <a:xfrm>
              <a:off x="3604874" y="2623963"/>
              <a:ext cx="374948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iSḻíḍe">
              <a:extLst>
                <a:ext uri="{FF2B5EF4-FFF2-40B4-BE49-F238E27FC236}">
                  <a16:creationId xmlns:a16="http://schemas.microsoft.com/office/drawing/2014/main" id="{933E7EAD-C07E-412A-8881-4254EEE337DF}"/>
                </a:ext>
              </a:extLst>
            </p:cNvPr>
            <p:cNvSpPr/>
            <p:nvPr userDrawn="1"/>
          </p:nvSpPr>
          <p:spPr bwMode="auto">
            <a:xfrm>
              <a:off x="4017808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ṥ1iḍè">
              <a:extLst>
                <a:ext uri="{FF2B5EF4-FFF2-40B4-BE49-F238E27FC236}">
                  <a16:creationId xmlns:a16="http://schemas.microsoft.com/office/drawing/2014/main" id="{9986CB17-3DB9-4127-A651-13236C8EF54E}"/>
                </a:ext>
              </a:extLst>
            </p:cNvPr>
            <p:cNvSpPr/>
            <p:nvPr userDrawn="1"/>
          </p:nvSpPr>
          <p:spPr bwMode="auto">
            <a:xfrm>
              <a:off x="3604874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ṡ1íḓe">
              <a:extLst>
                <a:ext uri="{FF2B5EF4-FFF2-40B4-BE49-F238E27FC236}">
                  <a16:creationId xmlns:a16="http://schemas.microsoft.com/office/drawing/2014/main" id="{729FFAE1-5E2C-4954-8F4F-DFFB10DC1A1D}"/>
                </a:ext>
              </a:extLst>
            </p:cNvPr>
            <p:cNvSpPr/>
            <p:nvPr userDrawn="1"/>
          </p:nvSpPr>
          <p:spPr bwMode="auto">
            <a:xfrm>
              <a:off x="3803377" y="2723214"/>
              <a:ext cx="552621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ŝľíḑe">
              <a:extLst>
                <a:ext uri="{FF2B5EF4-FFF2-40B4-BE49-F238E27FC236}">
                  <a16:creationId xmlns:a16="http://schemas.microsoft.com/office/drawing/2014/main" id="{C76CDE87-989F-4FED-8C41-E5668EB96AFE}"/>
                </a:ext>
              </a:extLst>
            </p:cNvPr>
            <p:cNvSpPr/>
            <p:nvPr userDrawn="1"/>
          </p:nvSpPr>
          <p:spPr bwMode="auto">
            <a:xfrm>
              <a:off x="3974922" y="2523487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ṥ1îḓè">
              <a:extLst>
                <a:ext uri="{FF2B5EF4-FFF2-40B4-BE49-F238E27FC236}">
                  <a16:creationId xmlns:a16="http://schemas.microsoft.com/office/drawing/2014/main" id="{6491BC25-5D16-416E-834C-C3C273B56AE3}"/>
                </a:ext>
              </a:extLst>
            </p:cNvPr>
            <p:cNvSpPr/>
            <p:nvPr userDrawn="1"/>
          </p:nvSpPr>
          <p:spPr bwMode="auto">
            <a:xfrm>
              <a:off x="2585407" y="2992784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ṡḷidê">
              <a:extLst>
                <a:ext uri="{FF2B5EF4-FFF2-40B4-BE49-F238E27FC236}">
                  <a16:creationId xmlns:a16="http://schemas.microsoft.com/office/drawing/2014/main" id="{97646E6B-D97E-4144-BE27-DBF63D11F3E3}"/>
                </a:ext>
              </a:extLst>
            </p:cNvPr>
            <p:cNvSpPr/>
            <p:nvPr userDrawn="1"/>
          </p:nvSpPr>
          <p:spPr bwMode="auto">
            <a:xfrm>
              <a:off x="2585407" y="3092036"/>
              <a:ext cx="373723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Sḻïḑe">
              <a:extLst>
                <a:ext uri="{FF2B5EF4-FFF2-40B4-BE49-F238E27FC236}">
                  <a16:creationId xmlns:a16="http://schemas.microsoft.com/office/drawing/2014/main" id="{D6B8E12F-8709-43F2-806C-6CAB41D5FC94}"/>
                </a:ext>
              </a:extLst>
            </p:cNvPr>
            <p:cNvSpPr/>
            <p:nvPr userDrawn="1"/>
          </p:nvSpPr>
          <p:spPr bwMode="auto">
            <a:xfrm>
              <a:off x="2998340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ŝlîḋe">
              <a:extLst>
                <a:ext uri="{FF2B5EF4-FFF2-40B4-BE49-F238E27FC236}">
                  <a16:creationId xmlns:a16="http://schemas.microsoft.com/office/drawing/2014/main" id="{518E2322-9EE4-474F-ADE3-FD2898161179}"/>
                </a:ext>
              </a:extLst>
            </p:cNvPr>
            <p:cNvSpPr/>
            <p:nvPr userDrawn="1"/>
          </p:nvSpPr>
          <p:spPr bwMode="auto">
            <a:xfrm>
              <a:off x="2585407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ṣḷidè">
              <a:extLst>
                <a:ext uri="{FF2B5EF4-FFF2-40B4-BE49-F238E27FC236}">
                  <a16:creationId xmlns:a16="http://schemas.microsoft.com/office/drawing/2014/main" id="{0BB4003C-99FF-44C8-9B1D-B72F6C0634E4}"/>
                </a:ext>
              </a:extLst>
            </p:cNvPr>
            <p:cNvSpPr/>
            <p:nvPr userDrawn="1"/>
          </p:nvSpPr>
          <p:spPr bwMode="auto">
            <a:xfrm>
              <a:off x="2785134" y="3191287"/>
              <a:ext cx="54894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ṧľîḓê">
              <a:extLst>
                <a:ext uri="{FF2B5EF4-FFF2-40B4-BE49-F238E27FC236}">
                  <a16:creationId xmlns:a16="http://schemas.microsoft.com/office/drawing/2014/main" id="{1F16BF9D-8781-431D-8816-B051BA40B836}"/>
                </a:ext>
              </a:extLst>
            </p:cNvPr>
            <p:cNvSpPr/>
            <p:nvPr userDrawn="1"/>
          </p:nvSpPr>
          <p:spPr bwMode="auto">
            <a:xfrm>
              <a:off x="2955454" y="2992784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šḷîḓe">
              <a:extLst>
                <a:ext uri="{FF2B5EF4-FFF2-40B4-BE49-F238E27FC236}">
                  <a16:creationId xmlns:a16="http://schemas.microsoft.com/office/drawing/2014/main" id="{9A53BEED-3C4A-4059-B845-7D0D36B08474}"/>
                </a:ext>
              </a:extLst>
            </p:cNvPr>
            <p:cNvSpPr/>
            <p:nvPr userDrawn="1"/>
          </p:nvSpPr>
          <p:spPr bwMode="auto">
            <a:xfrm>
              <a:off x="2585407" y="2523487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śliḍé">
              <a:extLst>
                <a:ext uri="{FF2B5EF4-FFF2-40B4-BE49-F238E27FC236}">
                  <a16:creationId xmlns:a16="http://schemas.microsoft.com/office/drawing/2014/main" id="{7C686A36-4505-4F1A-BAF7-B4EFDAFBF0AF}"/>
                </a:ext>
              </a:extLst>
            </p:cNvPr>
            <p:cNvSpPr/>
            <p:nvPr userDrawn="1"/>
          </p:nvSpPr>
          <p:spPr bwMode="auto">
            <a:xfrm>
              <a:off x="2585407" y="2623963"/>
              <a:ext cx="373723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ṥ1iḍê">
              <a:extLst>
                <a:ext uri="{FF2B5EF4-FFF2-40B4-BE49-F238E27FC236}">
                  <a16:creationId xmlns:a16="http://schemas.microsoft.com/office/drawing/2014/main" id="{5051C958-829C-4DD0-89AD-F39D5FD792AD}"/>
                </a:ext>
              </a:extLst>
            </p:cNvPr>
            <p:cNvSpPr/>
            <p:nvPr userDrawn="1"/>
          </p:nvSpPr>
          <p:spPr bwMode="auto">
            <a:xfrm>
              <a:off x="2998340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Slïḑe">
              <a:extLst>
                <a:ext uri="{FF2B5EF4-FFF2-40B4-BE49-F238E27FC236}">
                  <a16:creationId xmlns:a16="http://schemas.microsoft.com/office/drawing/2014/main" id="{A459608F-3AFA-4141-A1AE-F19022B144E8}"/>
                </a:ext>
              </a:extLst>
            </p:cNvPr>
            <p:cNvSpPr/>
            <p:nvPr userDrawn="1"/>
          </p:nvSpPr>
          <p:spPr bwMode="auto">
            <a:xfrm>
              <a:off x="2585407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śľîďe">
              <a:extLst>
                <a:ext uri="{FF2B5EF4-FFF2-40B4-BE49-F238E27FC236}">
                  <a16:creationId xmlns:a16="http://schemas.microsoft.com/office/drawing/2014/main" id="{FD715729-8843-409A-AAC2-3E0D09CB3049}"/>
                </a:ext>
              </a:extLst>
            </p:cNvPr>
            <p:cNvSpPr/>
            <p:nvPr userDrawn="1"/>
          </p:nvSpPr>
          <p:spPr bwMode="auto">
            <a:xfrm>
              <a:off x="2785134" y="2723214"/>
              <a:ext cx="54894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ṡľiďé">
              <a:extLst>
                <a:ext uri="{FF2B5EF4-FFF2-40B4-BE49-F238E27FC236}">
                  <a16:creationId xmlns:a16="http://schemas.microsoft.com/office/drawing/2014/main" id="{1FFA919A-4F71-493D-9C86-6014F672844E}"/>
                </a:ext>
              </a:extLst>
            </p:cNvPr>
            <p:cNvSpPr/>
            <p:nvPr userDrawn="1"/>
          </p:nvSpPr>
          <p:spPr bwMode="auto">
            <a:xfrm>
              <a:off x="2955454" y="2523487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s1iḋê">
              <a:extLst>
                <a:ext uri="{FF2B5EF4-FFF2-40B4-BE49-F238E27FC236}">
                  <a16:creationId xmlns:a16="http://schemas.microsoft.com/office/drawing/2014/main" id="{02A3D0D4-41D4-4C40-BF57-01571A009C68}"/>
                </a:ext>
              </a:extLst>
            </p:cNvPr>
            <p:cNvSpPr/>
            <p:nvPr userDrawn="1"/>
          </p:nvSpPr>
          <p:spPr bwMode="auto">
            <a:xfrm>
              <a:off x="2295006" y="2249015"/>
              <a:ext cx="2274197" cy="1450781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Sľíḑé">
              <a:extLst>
                <a:ext uri="{FF2B5EF4-FFF2-40B4-BE49-F238E27FC236}">
                  <a16:creationId xmlns:a16="http://schemas.microsoft.com/office/drawing/2014/main" id="{DEE98AAA-891E-40EF-AD10-81540C98BE92}"/>
                </a:ext>
              </a:extLst>
            </p:cNvPr>
            <p:cNvSpPr/>
            <p:nvPr userDrawn="1"/>
          </p:nvSpPr>
          <p:spPr bwMode="auto">
            <a:xfrm>
              <a:off x="4182001" y="3236624"/>
              <a:ext cx="79646" cy="6127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slîďè">
              <a:extLst>
                <a:ext uri="{FF2B5EF4-FFF2-40B4-BE49-F238E27FC236}">
                  <a16:creationId xmlns:a16="http://schemas.microsoft.com/office/drawing/2014/main" id="{A1A59CF2-7C2A-41E5-878C-5326AA0ACDB1}"/>
                </a:ext>
              </a:extLst>
            </p:cNvPr>
            <p:cNvSpPr/>
            <p:nvPr userDrawn="1"/>
          </p:nvSpPr>
          <p:spPr bwMode="auto">
            <a:xfrm>
              <a:off x="4065595" y="3406943"/>
              <a:ext cx="486453" cy="287951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Sľiḑe">
              <a:extLst>
                <a:ext uri="{FF2B5EF4-FFF2-40B4-BE49-F238E27FC236}">
                  <a16:creationId xmlns:a16="http://schemas.microsoft.com/office/drawing/2014/main" id="{57D750CF-37DE-4665-9CB7-01AB39A41A02}"/>
                </a:ext>
              </a:extLst>
            </p:cNvPr>
            <p:cNvSpPr/>
            <p:nvPr userDrawn="1"/>
          </p:nvSpPr>
          <p:spPr bwMode="auto">
            <a:xfrm>
              <a:off x="2389356" y="2316407"/>
              <a:ext cx="2089174" cy="85773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Sļíḓè">
              <a:extLst>
                <a:ext uri="{FF2B5EF4-FFF2-40B4-BE49-F238E27FC236}">
                  <a16:creationId xmlns:a16="http://schemas.microsoft.com/office/drawing/2014/main" id="{6F350305-3324-45A3-B8A0-CB9ED19AFFA9}"/>
                </a:ext>
              </a:extLst>
            </p:cNvPr>
            <p:cNvSpPr/>
            <p:nvPr userDrawn="1"/>
          </p:nvSpPr>
          <p:spPr bwMode="auto">
            <a:xfrm>
              <a:off x="2295006" y="3527025"/>
              <a:ext cx="2274197" cy="172770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ṧḻídé">
              <a:extLst>
                <a:ext uri="{FF2B5EF4-FFF2-40B4-BE49-F238E27FC236}">
                  <a16:creationId xmlns:a16="http://schemas.microsoft.com/office/drawing/2014/main" id="{6CEB28B7-8744-4428-BD55-349B6D225EEF}"/>
                </a:ext>
              </a:extLst>
            </p:cNvPr>
            <p:cNvSpPr/>
            <p:nvPr userDrawn="1"/>
          </p:nvSpPr>
          <p:spPr bwMode="auto">
            <a:xfrm>
              <a:off x="4332716" y="2367871"/>
              <a:ext cx="46562" cy="45337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ṧlïḋê">
              <a:extLst>
                <a:ext uri="{FF2B5EF4-FFF2-40B4-BE49-F238E27FC236}">
                  <a16:creationId xmlns:a16="http://schemas.microsoft.com/office/drawing/2014/main" id="{7C679456-F585-4818-B794-9A4AD918F7B4}"/>
                </a:ext>
              </a:extLst>
            </p:cNvPr>
            <p:cNvSpPr/>
            <p:nvPr userDrawn="1"/>
          </p:nvSpPr>
          <p:spPr bwMode="auto">
            <a:xfrm>
              <a:off x="4253069" y="2367871"/>
              <a:ext cx="46562" cy="45337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Sḷîḍê">
              <a:extLst>
                <a:ext uri="{FF2B5EF4-FFF2-40B4-BE49-F238E27FC236}">
                  <a16:creationId xmlns:a16="http://schemas.microsoft.com/office/drawing/2014/main" id="{2276FD30-3EB1-4161-BB1B-6273497B99E8}"/>
                </a:ext>
              </a:extLst>
            </p:cNvPr>
            <p:cNvSpPr/>
            <p:nvPr userDrawn="1"/>
          </p:nvSpPr>
          <p:spPr bwMode="auto">
            <a:xfrm>
              <a:off x="4173424" y="2367871"/>
              <a:ext cx="46562" cy="45337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şlîḍe">
              <a:extLst>
                <a:ext uri="{FF2B5EF4-FFF2-40B4-BE49-F238E27FC236}">
                  <a16:creationId xmlns:a16="http://schemas.microsoft.com/office/drawing/2014/main" id="{9362D34F-AEE9-426A-962B-5CEB6FAEF8FF}"/>
                </a:ext>
              </a:extLst>
            </p:cNvPr>
            <p:cNvSpPr/>
            <p:nvPr userDrawn="1"/>
          </p:nvSpPr>
          <p:spPr bwMode="auto">
            <a:xfrm>
              <a:off x="2150418" y="2831042"/>
              <a:ext cx="572225" cy="1187337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liḓe">
              <a:extLst>
                <a:ext uri="{FF2B5EF4-FFF2-40B4-BE49-F238E27FC236}">
                  <a16:creationId xmlns:a16="http://schemas.microsoft.com/office/drawing/2014/main" id="{E465730B-B4E3-45F7-9A17-D05BF1D44560}"/>
                </a:ext>
              </a:extLst>
            </p:cNvPr>
            <p:cNvSpPr/>
            <p:nvPr userDrawn="1"/>
          </p:nvSpPr>
          <p:spPr bwMode="auto">
            <a:xfrm>
              <a:off x="2232515" y="3038122"/>
              <a:ext cx="352893" cy="73519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šľïḍê">
              <a:extLst>
                <a:ext uri="{FF2B5EF4-FFF2-40B4-BE49-F238E27FC236}">
                  <a16:creationId xmlns:a16="http://schemas.microsoft.com/office/drawing/2014/main" id="{B60B31B6-2F6D-43E9-A087-7E65E0CDD14B}"/>
                </a:ext>
              </a:extLst>
            </p:cNvPr>
            <p:cNvSpPr/>
            <p:nvPr userDrawn="1"/>
          </p:nvSpPr>
          <p:spPr bwMode="auto">
            <a:xfrm>
              <a:off x="2135714" y="3299115"/>
              <a:ext cx="350442" cy="74745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ṡ1îḍe">
              <a:extLst>
                <a:ext uri="{FF2B5EF4-FFF2-40B4-BE49-F238E27FC236}">
                  <a16:creationId xmlns:a16="http://schemas.microsoft.com/office/drawing/2014/main" id="{816B332D-A7D7-441B-A1E5-F9962994DB11}"/>
                </a:ext>
              </a:extLst>
            </p:cNvPr>
            <p:cNvSpPr/>
            <p:nvPr userDrawn="1"/>
          </p:nvSpPr>
          <p:spPr bwMode="auto">
            <a:xfrm>
              <a:off x="2021759" y="3561334"/>
              <a:ext cx="359019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ṧḷídè">
              <a:extLst>
                <a:ext uri="{FF2B5EF4-FFF2-40B4-BE49-F238E27FC236}">
                  <a16:creationId xmlns:a16="http://schemas.microsoft.com/office/drawing/2014/main" id="{D304BA61-8182-4162-B06A-CCB3B84A59D3}"/>
                </a:ext>
              </a:extLst>
            </p:cNvPr>
            <p:cNvSpPr/>
            <p:nvPr userDrawn="1"/>
          </p:nvSpPr>
          <p:spPr bwMode="auto">
            <a:xfrm>
              <a:off x="1917607" y="3822327"/>
              <a:ext cx="346766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ṥļïďê">
              <a:extLst>
                <a:ext uri="{FF2B5EF4-FFF2-40B4-BE49-F238E27FC236}">
                  <a16:creationId xmlns:a16="http://schemas.microsoft.com/office/drawing/2014/main" id="{3C56152F-6DEA-455B-84F3-46512E0C54B5}"/>
                </a:ext>
              </a:extLst>
            </p:cNvPr>
            <p:cNvSpPr/>
            <p:nvPr userDrawn="1"/>
          </p:nvSpPr>
          <p:spPr bwMode="auto">
            <a:xfrm>
              <a:off x="4110932" y="3123895"/>
              <a:ext cx="709462" cy="903062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ṡlîḑe">
              <a:extLst>
                <a:ext uri="{FF2B5EF4-FFF2-40B4-BE49-F238E27FC236}">
                  <a16:creationId xmlns:a16="http://schemas.microsoft.com/office/drawing/2014/main" id="{AB28FAAC-F46A-4766-9105-5D772167698A}"/>
                </a:ext>
              </a:extLst>
            </p:cNvPr>
            <p:cNvSpPr/>
            <p:nvPr userDrawn="1"/>
          </p:nvSpPr>
          <p:spPr bwMode="auto">
            <a:xfrm>
              <a:off x="4362124" y="3421647"/>
              <a:ext cx="398230" cy="53424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šļiḍé">
              <a:extLst>
                <a:ext uri="{FF2B5EF4-FFF2-40B4-BE49-F238E27FC236}">
                  <a16:creationId xmlns:a16="http://schemas.microsoft.com/office/drawing/2014/main" id="{A3F7342D-749D-43FF-A5BE-1FFFE09FBDBA}"/>
                </a:ext>
              </a:extLst>
            </p:cNvPr>
            <p:cNvSpPr/>
            <p:nvPr userDrawn="1"/>
          </p:nvSpPr>
          <p:spPr bwMode="auto">
            <a:xfrm>
              <a:off x="3419851" y="4188698"/>
              <a:ext cx="583253" cy="943498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$ḷïḑe">
              <a:extLst>
                <a:ext uri="{FF2B5EF4-FFF2-40B4-BE49-F238E27FC236}">
                  <a16:creationId xmlns:a16="http://schemas.microsoft.com/office/drawing/2014/main" id="{679F26A2-6F07-498C-9784-653EA60F672B}"/>
                </a:ext>
              </a:extLst>
            </p:cNvPr>
            <p:cNvSpPr/>
            <p:nvPr userDrawn="1"/>
          </p:nvSpPr>
          <p:spPr bwMode="auto">
            <a:xfrm>
              <a:off x="3613451" y="5132196"/>
              <a:ext cx="366372" cy="142137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s1îḓe">
              <a:extLst>
                <a:ext uri="{FF2B5EF4-FFF2-40B4-BE49-F238E27FC236}">
                  <a16:creationId xmlns:a16="http://schemas.microsoft.com/office/drawing/2014/main" id="{88F5140E-0499-4892-AFCC-DF03767705D0}"/>
                </a:ext>
              </a:extLst>
            </p:cNvPr>
            <p:cNvSpPr/>
            <p:nvPr userDrawn="1"/>
          </p:nvSpPr>
          <p:spPr bwMode="auto">
            <a:xfrm>
              <a:off x="2856203" y="4188698"/>
              <a:ext cx="583253" cy="943498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ṥļîdê">
              <a:extLst>
                <a:ext uri="{FF2B5EF4-FFF2-40B4-BE49-F238E27FC236}">
                  <a16:creationId xmlns:a16="http://schemas.microsoft.com/office/drawing/2014/main" id="{8937C7A2-E716-4C3D-BEF9-42ED86EFFE95}"/>
                </a:ext>
              </a:extLst>
            </p:cNvPr>
            <p:cNvSpPr/>
            <p:nvPr userDrawn="1"/>
          </p:nvSpPr>
          <p:spPr bwMode="auto">
            <a:xfrm>
              <a:off x="3073085" y="2915589"/>
              <a:ext cx="147038" cy="21933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sḻîḋè">
              <a:extLst>
                <a:ext uri="{FF2B5EF4-FFF2-40B4-BE49-F238E27FC236}">
                  <a16:creationId xmlns:a16="http://schemas.microsoft.com/office/drawing/2014/main" id="{DC95E2C6-9082-4308-BBB6-3669C50628B9}"/>
                </a:ext>
              </a:extLst>
            </p:cNvPr>
            <p:cNvSpPr/>
            <p:nvPr userDrawn="1"/>
          </p:nvSpPr>
          <p:spPr bwMode="auto">
            <a:xfrm>
              <a:off x="3106168" y="2969504"/>
              <a:ext cx="113955" cy="137236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ṥľïḓê">
              <a:extLst>
                <a:ext uri="{FF2B5EF4-FFF2-40B4-BE49-F238E27FC236}">
                  <a16:creationId xmlns:a16="http://schemas.microsoft.com/office/drawing/2014/main" id="{F15034DD-4139-4A5D-A1FC-BD130ED0B7CC}"/>
                </a:ext>
              </a:extLst>
            </p:cNvPr>
            <p:cNvSpPr/>
            <p:nvPr userDrawn="1"/>
          </p:nvSpPr>
          <p:spPr bwMode="auto">
            <a:xfrm>
              <a:off x="3129450" y="2973179"/>
              <a:ext cx="90673" cy="62492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ş1íḋê">
              <a:extLst>
                <a:ext uri="{FF2B5EF4-FFF2-40B4-BE49-F238E27FC236}">
                  <a16:creationId xmlns:a16="http://schemas.microsoft.com/office/drawing/2014/main" id="{7FA3233B-B5FE-4ED5-806B-A330FAD55AC1}"/>
                </a:ext>
              </a:extLst>
            </p:cNvPr>
            <p:cNvSpPr/>
            <p:nvPr userDrawn="1"/>
          </p:nvSpPr>
          <p:spPr bwMode="auto">
            <a:xfrm>
              <a:off x="3678394" y="2967053"/>
              <a:ext cx="165419" cy="221784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ṧḷíďè">
              <a:extLst>
                <a:ext uri="{FF2B5EF4-FFF2-40B4-BE49-F238E27FC236}">
                  <a16:creationId xmlns:a16="http://schemas.microsoft.com/office/drawing/2014/main" id="{CF755CEF-235E-4910-9B47-311E7EE20948}"/>
                </a:ext>
              </a:extLst>
            </p:cNvPr>
            <p:cNvSpPr/>
            <p:nvPr userDrawn="1"/>
          </p:nvSpPr>
          <p:spPr bwMode="auto">
            <a:xfrm>
              <a:off x="3678394" y="3020968"/>
              <a:ext cx="133561" cy="136011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líďe">
              <a:extLst>
                <a:ext uri="{FF2B5EF4-FFF2-40B4-BE49-F238E27FC236}">
                  <a16:creationId xmlns:a16="http://schemas.microsoft.com/office/drawing/2014/main" id="{564DCA01-4D4E-4203-AC3D-91DD158DF283}"/>
                </a:ext>
              </a:extLst>
            </p:cNvPr>
            <p:cNvSpPr/>
            <p:nvPr userDrawn="1"/>
          </p:nvSpPr>
          <p:spPr bwMode="auto">
            <a:xfrm>
              <a:off x="3690647" y="3027094"/>
              <a:ext cx="95575" cy="47788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ṧ1iḍé">
              <a:extLst>
                <a:ext uri="{FF2B5EF4-FFF2-40B4-BE49-F238E27FC236}">
                  <a16:creationId xmlns:a16="http://schemas.microsoft.com/office/drawing/2014/main" id="{F7C9D85A-62D0-4F60-844E-CBE9328B058E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ḷíḍé">
              <a:extLst>
                <a:ext uri="{FF2B5EF4-FFF2-40B4-BE49-F238E27FC236}">
                  <a16:creationId xmlns:a16="http://schemas.microsoft.com/office/drawing/2014/main" id="{8444D3B0-2E49-4319-8C2D-7129D1A8ACEC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lïďê">
              <a:extLst>
                <a:ext uri="{FF2B5EF4-FFF2-40B4-BE49-F238E27FC236}">
                  <a16:creationId xmlns:a16="http://schemas.microsoft.com/office/drawing/2014/main" id="{1FEAE8C5-DC59-4A3D-B5AA-92883DF37022}"/>
                </a:ext>
              </a:extLst>
            </p:cNvPr>
            <p:cNvSpPr/>
            <p:nvPr userDrawn="1"/>
          </p:nvSpPr>
          <p:spPr bwMode="auto">
            <a:xfrm>
              <a:off x="3374514" y="3245201"/>
              <a:ext cx="136011" cy="68618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ṩlïḍe">
              <a:extLst>
                <a:ext uri="{FF2B5EF4-FFF2-40B4-BE49-F238E27FC236}">
                  <a16:creationId xmlns:a16="http://schemas.microsoft.com/office/drawing/2014/main" id="{F474C644-7DD8-468F-8644-97C12280CA91}"/>
                </a:ext>
              </a:extLst>
            </p:cNvPr>
            <p:cNvSpPr/>
            <p:nvPr userDrawn="1"/>
          </p:nvSpPr>
          <p:spPr bwMode="auto">
            <a:xfrm>
              <a:off x="3185815" y="2714637"/>
              <a:ext cx="558747" cy="605309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š1íḓè">
              <a:extLst>
                <a:ext uri="{FF2B5EF4-FFF2-40B4-BE49-F238E27FC236}">
                  <a16:creationId xmlns:a16="http://schemas.microsoft.com/office/drawing/2014/main" id="{5D558924-D779-4841-9E59-C2CF35D34ECF}"/>
                </a:ext>
              </a:extLst>
            </p:cNvPr>
            <p:cNvSpPr/>
            <p:nvPr userDrawn="1"/>
          </p:nvSpPr>
          <p:spPr bwMode="auto">
            <a:xfrm>
              <a:off x="3185815" y="2850647"/>
              <a:ext cx="3677" cy="79646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şļíḍê">
              <a:extLst>
                <a:ext uri="{FF2B5EF4-FFF2-40B4-BE49-F238E27FC236}">
                  <a16:creationId xmlns:a16="http://schemas.microsoft.com/office/drawing/2014/main" id="{E199D2AC-6012-42CF-9551-E91B1B858C9D}"/>
                </a:ext>
              </a:extLst>
            </p:cNvPr>
            <p:cNvSpPr/>
            <p:nvPr userDrawn="1"/>
          </p:nvSpPr>
          <p:spPr bwMode="auto">
            <a:xfrm>
              <a:off x="3024072" y="2585978"/>
              <a:ext cx="782981" cy="749897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ṡļíḋe">
              <a:extLst>
                <a:ext uri="{FF2B5EF4-FFF2-40B4-BE49-F238E27FC236}">
                  <a16:creationId xmlns:a16="http://schemas.microsoft.com/office/drawing/2014/main" id="{D1D99DB1-9EF8-4E78-A70B-D9B055939F45}"/>
                </a:ext>
              </a:extLst>
            </p:cNvPr>
            <p:cNvSpPr/>
            <p:nvPr userDrawn="1"/>
          </p:nvSpPr>
          <p:spPr bwMode="auto">
            <a:xfrm>
              <a:off x="3106168" y="2498980"/>
              <a:ext cx="664124" cy="553845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şľiḍê">
              <a:extLst>
                <a:ext uri="{FF2B5EF4-FFF2-40B4-BE49-F238E27FC236}">
                  <a16:creationId xmlns:a16="http://schemas.microsoft.com/office/drawing/2014/main" id="{BD8527B5-9685-43D9-A4BB-24D31A1DC873}"/>
                </a:ext>
              </a:extLst>
            </p:cNvPr>
            <p:cNvSpPr/>
            <p:nvPr userDrawn="1"/>
          </p:nvSpPr>
          <p:spPr bwMode="auto">
            <a:xfrm>
              <a:off x="2901540" y="3410620"/>
              <a:ext cx="1073382" cy="605309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şḻíḍé">
              <a:extLst>
                <a:ext uri="{FF2B5EF4-FFF2-40B4-BE49-F238E27FC236}">
                  <a16:creationId xmlns:a16="http://schemas.microsoft.com/office/drawing/2014/main" id="{87DF0451-204A-474F-A58F-D13039627FD6}"/>
                </a:ext>
              </a:extLst>
            </p:cNvPr>
            <p:cNvSpPr/>
            <p:nvPr userDrawn="1"/>
          </p:nvSpPr>
          <p:spPr bwMode="auto">
            <a:xfrm>
              <a:off x="3055931" y="3473111"/>
              <a:ext cx="773178" cy="911639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ṣľïḓè">
              <a:extLst>
                <a:ext uri="{FF2B5EF4-FFF2-40B4-BE49-F238E27FC236}">
                  <a16:creationId xmlns:a16="http://schemas.microsoft.com/office/drawing/2014/main" id="{72328A9B-5B48-4A75-AE33-79F12AF9E653}"/>
                </a:ext>
              </a:extLst>
            </p:cNvPr>
            <p:cNvSpPr/>
            <p:nvPr userDrawn="1"/>
          </p:nvSpPr>
          <p:spPr bwMode="auto">
            <a:xfrm>
              <a:off x="3092691" y="3473111"/>
              <a:ext cx="699659" cy="857725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šlídè">
              <a:extLst>
                <a:ext uri="{FF2B5EF4-FFF2-40B4-BE49-F238E27FC236}">
                  <a16:creationId xmlns:a16="http://schemas.microsoft.com/office/drawing/2014/main" id="{06E681C1-1770-438C-92E0-4908FDED543C}"/>
                </a:ext>
              </a:extLst>
            </p:cNvPr>
            <p:cNvSpPr/>
            <p:nvPr userDrawn="1"/>
          </p:nvSpPr>
          <p:spPr bwMode="auto">
            <a:xfrm>
              <a:off x="3080437" y="2913139"/>
              <a:ext cx="700884" cy="454595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ṩḷídé">
              <a:extLst>
                <a:ext uri="{FF2B5EF4-FFF2-40B4-BE49-F238E27FC236}">
                  <a16:creationId xmlns:a16="http://schemas.microsoft.com/office/drawing/2014/main" id="{660F0BB5-1EC9-4845-B263-4ED425A0F5C0}"/>
                </a:ext>
              </a:extLst>
            </p:cNvPr>
            <p:cNvSpPr/>
            <p:nvPr userDrawn="1"/>
          </p:nvSpPr>
          <p:spPr bwMode="auto">
            <a:xfrm>
              <a:off x="3126999" y="2930293"/>
              <a:ext cx="611436" cy="398230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ŝliḓè">
              <a:extLst>
                <a:ext uri="{FF2B5EF4-FFF2-40B4-BE49-F238E27FC236}">
                  <a16:creationId xmlns:a16="http://schemas.microsoft.com/office/drawing/2014/main" id="{693C7819-0F20-4631-A6EB-872578CB9B16}"/>
                </a:ext>
              </a:extLst>
            </p:cNvPr>
            <p:cNvSpPr/>
            <p:nvPr userDrawn="1"/>
          </p:nvSpPr>
          <p:spPr bwMode="auto">
            <a:xfrm>
              <a:off x="2976284" y="4399454"/>
              <a:ext cx="904287" cy="211981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Sľíḋê">
              <a:extLst>
                <a:ext uri="{FF2B5EF4-FFF2-40B4-BE49-F238E27FC236}">
                  <a16:creationId xmlns:a16="http://schemas.microsoft.com/office/drawing/2014/main" id="{8F9C19EF-98C8-4981-AAF6-9D1923B1EE08}"/>
                </a:ext>
              </a:extLst>
            </p:cNvPr>
            <p:cNvSpPr/>
            <p:nvPr userDrawn="1"/>
          </p:nvSpPr>
          <p:spPr bwMode="auto">
            <a:xfrm>
              <a:off x="3080437" y="4399454"/>
              <a:ext cx="692307" cy="53914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šļiḑê">
              <a:extLst>
                <a:ext uri="{FF2B5EF4-FFF2-40B4-BE49-F238E27FC236}">
                  <a16:creationId xmlns:a16="http://schemas.microsoft.com/office/drawing/2014/main" id="{AA22B452-E548-44EA-9455-BF4F3923065D}"/>
                </a:ext>
              </a:extLst>
            </p:cNvPr>
            <p:cNvSpPr/>
            <p:nvPr userDrawn="1"/>
          </p:nvSpPr>
          <p:spPr bwMode="auto">
            <a:xfrm>
              <a:off x="3383091" y="4611435"/>
              <a:ext cx="84547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şļiḓè">
              <a:extLst>
                <a:ext uri="{FF2B5EF4-FFF2-40B4-BE49-F238E27FC236}">
                  <a16:creationId xmlns:a16="http://schemas.microsoft.com/office/drawing/2014/main" id="{64D6E0F5-4B9A-430B-AEBC-FD608ACB500C}"/>
                </a:ext>
              </a:extLst>
            </p:cNvPr>
            <p:cNvSpPr/>
            <p:nvPr userDrawn="1"/>
          </p:nvSpPr>
          <p:spPr bwMode="auto">
            <a:xfrm>
              <a:off x="2983637" y="4526887"/>
              <a:ext cx="888358" cy="84547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ṥḻïḋê">
              <a:extLst>
                <a:ext uri="{FF2B5EF4-FFF2-40B4-BE49-F238E27FC236}">
                  <a16:creationId xmlns:a16="http://schemas.microsoft.com/office/drawing/2014/main" id="{7397400A-7416-4E12-9660-155DE38804C8}"/>
                </a:ext>
              </a:extLst>
            </p:cNvPr>
            <p:cNvSpPr/>
            <p:nvPr userDrawn="1"/>
          </p:nvSpPr>
          <p:spPr bwMode="auto">
            <a:xfrm>
              <a:off x="3359810" y="3986521"/>
              <a:ext cx="133561" cy="1154253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şḻíḓé">
              <a:extLst>
                <a:ext uri="{FF2B5EF4-FFF2-40B4-BE49-F238E27FC236}">
                  <a16:creationId xmlns:a16="http://schemas.microsoft.com/office/drawing/2014/main" id="{F40D78CA-C1A7-4E12-85E0-5B21CEF3CB89}"/>
                </a:ext>
              </a:extLst>
            </p:cNvPr>
            <p:cNvSpPr/>
            <p:nvPr userDrawn="1"/>
          </p:nvSpPr>
          <p:spPr bwMode="auto">
            <a:xfrm>
              <a:off x="3379416" y="3023418"/>
              <a:ext cx="94350" cy="980257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idé">
              <a:extLst>
                <a:ext uri="{FF2B5EF4-FFF2-40B4-BE49-F238E27FC236}">
                  <a16:creationId xmlns:a16="http://schemas.microsoft.com/office/drawing/2014/main" id="{6B9EA5DD-B3B5-4674-982B-8269182E4792}"/>
                </a:ext>
              </a:extLst>
            </p:cNvPr>
            <p:cNvSpPr/>
            <p:nvPr userDrawn="1"/>
          </p:nvSpPr>
          <p:spPr bwMode="auto">
            <a:xfrm>
              <a:off x="2879484" y="5132196"/>
              <a:ext cx="363921" cy="142137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$ḷîde">
              <a:extLst>
                <a:ext uri="{FF2B5EF4-FFF2-40B4-BE49-F238E27FC236}">
                  <a16:creationId xmlns:a16="http://schemas.microsoft.com/office/drawing/2014/main" id="{BE7762C7-EE51-4CE3-80BE-B5E9BE586DE3}"/>
                </a:ext>
              </a:extLst>
            </p:cNvPr>
            <p:cNvSpPr/>
            <p:nvPr userDrawn="1"/>
          </p:nvSpPr>
          <p:spPr bwMode="auto">
            <a:xfrm>
              <a:off x="2791261" y="4003675"/>
              <a:ext cx="637167" cy="637167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şḻïḓe">
              <a:extLst>
                <a:ext uri="{FF2B5EF4-FFF2-40B4-BE49-F238E27FC236}">
                  <a16:creationId xmlns:a16="http://schemas.microsoft.com/office/drawing/2014/main" id="{7A036AC6-CC89-4A17-9BF5-E7B1B736CC34}"/>
                </a:ext>
              </a:extLst>
            </p:cNvPr>
            <p:cNvSpPr/>
            <p:nvPr userDrawn="1"/>
          </p:nvSpPr>
          <p:spPr bwMode="auto">
            <a:xfrm>
              <a:off x="3448033" y="4003675"/>
              <a:ext cx="634716" cy="637167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ṩḻïdè">
              <a:extLst>
                <a:ext uri="{FF2B5EF4-FFF2-40B4-BE49-F238E27FC236}">
                  <a16:creationId xmlns:a16="http://schemas.microsoft.com/office/drawing/2014/main" id="{4F1F048A-0DFF-4047-A96C-CDD318D1C55D}"/>
                </a:ext>
              </a:extLst>
            </p:cNvPr>
            <p:cNvSpPr/>
            <p:nvPr userDrawn="1"/>
          </p:nvSpPr>
          <p:spPr bwMode="auto">
            <a:xfrm>
              <a:off x="3351232" y="5140774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ṧḻíḋe">
              <a:extLst>
                <a:ext uri="{FF2B5EF4-FFF2-40B4-BE49-F238E27FC236}">
                  <a16:creationId xmlns:a16="http://schemas.microsoft.com/office/drawing/2014/main" id="{7E3D1555-9967-463E-9E9F-F7798D0B1E59}"/>
                </a:ext>
              </a:extLst>
            </p:cNvPr>
            <p:cNvSpPr/>
            <p:nvPr userDrawn="1"/>
          </p:nvSpPr>
          <p:spPr bwMode="auto">
            <a:xfrm>
              <a:off x="3351232" y="3938733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ş1ïḓê">
              <a:extLst>
                <a:ext uri="{FF2B5EF4-FFF2-40B4-BE49-F238E27FC236}">
                  <a16:creationId xmlns:a16="http://schemas.microsoft.com/office/drawing/2014/main" id="{2F8B09D7-F978-4EBB-8359-FA129BBD12AC}"/>
                </a:ext>
              </a:extLst>
            </p:cNvPr>
            <p:cNvSpPr/>
            <p:nvPr userDrawn="1"/>
          </p:nvSpPr>
          <p:spPr bwMode="auto">
            <a:xfrm>
              <a:off x="3092691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ṥḷïdé">
              <a:extLst>
                <a:ext uri="{FF2B5EF4-FFF2-40B4-BE49-F238E27FC236}">
                  <a16:creationId xmlns:a16="http://schemas.microsoft.com/office/drawing/2014/main" id="{A3740707-E853-471E-80F9-03B74FB77764}"/>
                </a:ext>
              </a:extLst>
            </p:cNvPr>
            <p:cNvSpPr/>
            <p:nvPr userDrawn="1"/>
          </p:nvSpPr>
          <p:spPr bwMode="auto">
            <a:xfrm>
              <a:off x="3607325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ṩľîde">
              <a:extLst>
                <a:ext uri="{FF2B5EF4-FFF2-40B4-BE49-F238E27FC236}">
                  <a16:creationId xmlns:a16="http://schemas.microsoft.com/office/drawing/2014/main" id="{9E5DBF7A-9115-4EA5-ACEB-31A89AB7BA0F}"/>
                </a:ext>
              </a:extLst>
            </p:cNvPr>
            <p:cNvSpPr/>
            <p:nvPr userDrawn="1"/>
          </p:nvSpPr>
          <p:spPr bwMode="auto">
            <a:xfrm>
              <a:off x="3191941" y="5132196"/>
              <a:ext cx="472974" cy="53914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3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3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正文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92F589C9-1753-F640-BC2A-39FD4411E3FA}"/>
              </a:ext>
            </a:extLst>
          </p:cNvPr>
          <p:cNvSpPr/>
          <p:nvPr userDrawn="1"/>
        </p:nvSpPr>
        <p:spPr>
          <a:xfrm>
            <a:off x="-24000" y="1017000"/>
            <a:ext cx="12240000" cy="36000"/>
          </a:xfrm>
          <a:prstGeom prst="rect">
            <a:avLst/>
          </a:prstGeom>
          <a:solidFill>
            <a:srgbClr val="126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内容占位符 13">
            <a:extLst>
              <a:ext uri="{FF2B5EF4-FFF2-40B4-BE49-F238E27FC236}">
                <a16:creationId xmlns:a16="http://schemas.microsoft.com/office/drawing/2014/main" id="{B97A7D5D-1247-2447-90B8-22E077F4457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68000" y="117000"/>
            <a:ext cx="10646409" cy="792000"/>
          </a:xfrm>
        </p:spPr>
        <p:txBody>
          <a:bodyPr anchor="ctr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zh-CN" altLang="en-US" sz="4000" b="1" kern="1200" dirty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6" name="内容占位符 9">
            <a:extLst>
              <a:ext uri="{FF2B5EF4-FFF2-40B4-BE49-F238E27FC236}">
                <a16:creationId xmlns:a16="http://schemas.microsoft.com/office/drawing/2014/main" id="{725BE4BC-4727-E64C-B478-FAC9F20032A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6762" y="1197000"/>
            <a:ext cx="10658475" cy="4896000"/>
          </a:xfrm>
        </p:spPr>
        <p:txBody>
          <a:bodyPr lIns="90000"/>
          <a:lstStyle>
            <a:lvl1pPr marL="361800" indent="-372600">
              <a:lnSpc>
                <a:spcPct val="120000"/>
              </a:lnSpc>
              <a:buFont typeface="Arial" panose="020B0604020202020204" pitchFamily="34" charset="0"/>
              <a:buChar char="•"/>
              <a:defRPr sz="2800" b="1">
                <a:latin typeface="DengXian" panose="02010600030101010101" pitchFamily="2" charset="-122"/>
                <a:ea typeface="DengXian" panose="02010600030101010101" pitchFamily="2" charset="-122"/>
              </a:defRPr>
            </a:lvl1pPr>
            <a:lvl2pPr marL="745200" indent="-342900">
              <a:lnSpc>
                <a:spcPct val="150000"/>
              </a:lnSpc>
              <a:buFont typeface="Wingdings" pitchFamily="2" charset="2"/>
              <a:buChar char="ü"/>
              <a:defRPr sz="2400">
                <a:latin typeface="DengXian" panose="02010600030101010101" pitchFamily="2" charset="-122"/>
                <a:ea typeface="DengXian" panose="02010600030101010101" pitchFamily="2" charset="-122"/>
              </a:defRPr>
            </a:lvl2pPr>
            <a:lvl3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lvl3pPr>
            <a:lvl4pPr marL="9225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400"/>
            </a:lvl4pPr>
            <a:lvl5pPr marL="1828800" indent="0">
              <a:lnSpc>
                <a:spcPct val="150000"/>
              </a:lnSpc>
              <a:buNone/>
              <a:defRPr/>
            </a:lvl5pPr>
          </a:lstStyle>
          <a:p>
            <a:pPr lvl="0" indent="-228600"/>
            <a:r>
              <a:rPr lang="zh-CN" altLang="en-US" dirty="0"/>
              <a:t> 单击此处编辑母版文本样式</a:t>
            </a:r>
          </a:p>
          <a:p>
            <a:pPr lvl="1" indent="-228600"/>
            <a:r>
              <a:rPr lang="zh-CN" altLang="en-US" dirty="0"/>
              <a:t>  第二级</a:t>
            </a:r>
          </a:p>
        </p:txBody>
      </p:sp>
      <p:pic>
        <p:nvPicPr>
          <p:cNvPr id="17" name="图片 6" descr="tedu logo">
            <a:extLst>
              <a:ext uri="{FF2B5EF4-FFF2-40B4-BE49-F238E27FC236}">
                <a16:creationId xmlns:a16="http://schemas.microsoft.com/office/drawing/2014/main" id="{0E9E9893-6524-8F48-ABB0-82508A503A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0000" y="47625"/>
            <a:ext cx="1652587" cy="952500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1142454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2/3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>
                        <a:picLocks noGrp="1" noSelect="1" noRot="1" noChangeAspect="1" noMove="1" noResize="1" noEditPoints="1" noAdjustHandles="1" noChangeArrowheads="1" noChangeShapeType="1" noCrop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>
            <a:spLocks noGrp="1" noSelect="1" noRot="1" noChangeAspect="1" noMove="1" noResize="1" noEditPoints="1" noAdjustHandles="1" noChangeArrowheads="1" noChangeShapeType="1" noTextEdit="1"/>
          </p:cNvSpPr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if-else</a:t>
            </a:r>
            <a:r>
              <a:rPr lang="zh-CN" altLang="en-US" dirty="0" smtClean="0"/>
              <a:t>语句</a:t>
            </a:r>
            <a:endParaRPr lang="zh-CN" altLang="en-US" dirty="0"/>
          </a:p>
        </p:txBody>
      </p:sp>
      <p:sp>
        <p:nvSpPr>
          <p:cNvPr id="5" name="副标题 4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subTitle" idx="1"/>
          </p:nvPr>
        </p:nvSpPr>
        <p:spPr>
          <a:xfrm>
            <a:off x="1383698" y="3124959"/>
            <a:ext cx="5844995" cy="535287"/>
          </a:xfrm>
        </p:spPr>
        <p:txBody>
          <a:bodyPr>
            <a:normAutofit/>
          </a:bodyPr>
          <a:lstStyle/>
          <a:p>
            <a:r>
              <a:rPr lang="zh-CN" altLang="en-US" dirty="0"/>
              <a:t>判断语句</a:t>
            </a:r>
          </a:p>
        </p:txBody>
      </p:sp>
      <p:sp>
        <p:nvSpPr>
          <p:cNvPr id="6" name="文本占位符 5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body" sz="quarter" idx="10"/>
          </p:nvPr>
        </p:nvSpPr>
        <p:spPr>
          <a:solidFill>
            <a:schemeClr val="tx2"/>
          </a:solidFill>
        </p:spPr>
        <p:txBody>
          <a:bodyPr/>
          <a:lstStyle/>
          <a:p>
            <a:r>
              <a:rPr lang="en-US" altLang="zh-CN" dirty="0"/>
              <a:t>By Zhangzg</a:t>
            </a:r>
          </a:p>
        </p:txBody>
      </p:sp>
      <p:sp>
        <p:nvSpPr>
          <p:cNvPr id="7" name="文本占位符 6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2">
                    <a:lumMod val="50000"/>
                  </a:schemeClr>
                </a:solidFill>
              </a:rPr>
              <a:t>https://www.jianshu.com/c/00c61372c46a</a:t>
            </a:r>
            <a:endParaRPr lang="en-US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1"/>
          </p:nvPr>
        </p:nvSpPr>
        <p:spPr/>
        <p:txBody>
          <a:bodyPr/>
          <a:lstStyle/>
          <a:p>
            <a:r>
              <a:rPr kumimoji="1" lang="en-US" altLang="zh-CN"/>
              <a:t>if-else</a:t>
            </a:r>
            <a:r>
              <a:rPr kumimoji="1" lang="zh-CN" altLang="en-US"/>
              <a:t>语句</a:t>
            </a:r>
          </a:p>
        </p:txBody>
      </p:sp>
      <p:sp>
        <p:nvSpPr>
          <p:cNvPr id="3" name="内容占位符 2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0"/>
          </p:nvPr>
        </p:nvSpPr>
        <p:spPr>
          <a:xfrm>
            <a:off x="766760" y="1197000"/>
            <a:ext cx="3689491" cy="43541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if</a:t>
            </a: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判断条件</a:t>
            </a:r>
            <a:r>
              <a:rPr kumimoji="1" lang="zh-CN" altLang="en-US" b="0" dirty="0" smtClean="0">
                <a:solidFill>
                  <a:schemeClr val="accent5"/>
                </a:solidFill>
                <a:latin typeface="+mn-ea"/>
                <a:ea typeface="+mn-ea"/>
              </a:rPr>
              <a:t>为真</a:t>
            </a:r>
            <a:r>
              <a:rPr kumimoji="1" lang="en-US" altLang="zh-CN" b="0" dirty="0" smtClean="0">
                <a:solidFill>
                  <a:schemeClr val="accent5"/>
                </a:solidFill>
                <a:latin typeface="+mn-ea"/>
                <a:ea typeface="+mn-ea"/>
              </a:rPr>
              <a:t>: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124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1671851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   语句块</a:t>
            </a: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1</a:t>
            </a:r>
          </a:p>
        </p:txBody>
      </p:sp>
      <p:sp>
        <p:nvSpPr>
          <p:cNvPr id="125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2146702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elif</a:t>
            </a: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判断条件</a:t>
            </a:r>
            <a:r>
              <a:rPr kumimoji="1" lang="en-US" altLang="zh-CN" b="0" dirty="0" smtClean="0">
                <a:solidFill>
                  <a:schemeClr val="accent5"/>
                </a:solidFill>
                <a:latin typeface="+mn-ea"/>
                <a:ea typeface="+mn-ea"/>
              </a:rPr>
              <a:t>: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126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2621553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   语句块</a:t>
            </a: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2</a:t>
            </a:r>
          </a:p>
        </p:txBody>
      </p:sp>
      <p:sp>
        <p:nvSpPr>
          <p:cNvPr id="127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3096404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elif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 判断条件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:</a:t>
            </a:r>
          </a:p>
        </p:txBody>
      </p:sp>
      <p:sp>
        <p:nvSpPr>
          <p:cNvPr id="128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3571255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</a:rPr>
              <a:t>    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语句块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3</a:t>
            </a:r>
          </a:p>
        </p:txBody>
      </p:sp>
      <p:sp>
        <p:nvSpPr>
          <p:cNvPr id="13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4046106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...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...</a:t>
            </a:r>
          </a:p>
        </p:txBody>
      </p:sp>
      <p:sp>
        <p:nvSpPr>
          <p:cNvPr id="15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4520957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else:</a:t>
            </a:r>
          </a:p>
        </p:txBody>
      </p:sp>
      <p:sp>
        <p:nvSpPr>
          <p:cNvPr id="16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4995808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</a:rPr>
              <a:t>    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语句块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n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12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59" y="5516959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其他语句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grpSp>
        <p:nvGrpSpPr>
          <p:cNvPr id="432" name="组合 43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Grp="1" noUngrp="1" noSelect="1" noRot="1" noChangeAspect="1" noMove="1" noResize="1"/>
          </p:cNvGrpSpPr>
          <p:nvPr/>
        </p:nvGrpSpPr>
        <p:grpSpPr>
          <a:xfrm>
            <a:off x="4456250" y="513000"/>
            <a:ext cx="6782292" cy="5978510"/>
            <a:chOff x="3436938" y="1101726"/>
            <a:chExt cx="5291138" cy="4664075"/>
          </a:xfrm>
        </p:grpSpPr>
        <p:sp>
          <p:nvSpPr>
            <p:cNvPr id="433" name="iṥļïďê">
              <a:extLst>
                <a:ext uri="{FF2B5EF4-FFF2-40B4-BE49-F238E27FC236}">
                  <a16:creationId xmlns:a16="http://schemas.microsoft.com/office/drawing/2014/main" id="{31B18AB6-AE12-4DA6-B127-54A550FED46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80163" y="1428751"/>
              <a:ext cx="1222375" cy="966788"/>
            </a:xfrm>
            <a:prstGeom prst="ellipse">
              <a:avLst/>
            </a:pr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iṧḻíḓé">
              <a:extLst>
                <a:ext uri="{FF2B5EF4-FFF2-40B4-BE49-F238E27FC236}">
                  <a16:creationId xmlns:a16="http://schemas.microsoft.com/office/drawing/2014/main" id="{6A81FD2B-147F-4E11-9937-19B2C8027AE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41775" y="5100638"/>
              <a:ext cx="4227513" cy="665163"/>
            </a:xfrm>
            <a:custGeom>
              <a:avLst/>
              <a:gdLst>
                <a:gd name="T0" fmla="*/ 332 w 774"/>
                <a:gd name="T1" fmla="*/ 0 h 122"/>
                <a:gd name="T2" fmla="*/ 301 w 774"/>
                <a:gd name="T3" fmla="*/ 1 h 122"/>
                <a:gd name="T4" fmla="*/ 302 w 774"/>
                <a:gd name="T5" fmla="*/ 47 h 122"/>
                <a:gd name="T6" fmla="*/ 302 w 774"/>
                <a:gd name="T7" fmla="*/ 47 h 122"/>
                <a:gd name="T8" fmla="*/ 302 w 774"/>
                <a:gd name="T9" fmla="*/ 47 h 122"/>
                <a:gd name="T10" fmla="*/ 310 w 774"/>
                <a:gd name="T11" fmla="*/ 57 h 122"/>
                <a:gd name="T12" fmla="*/ 314 w 774"/>
                <a:gd name="T13" fmla="*/ 73 h 122"/>
                <a:gd name="T14" fmla="*/ 305 w 774"/>
                <a:gd name="T15" fmla="*/ 78 h 122"/>
                <a:gd name="T16" fmla="*/ 292 w 774"/>
                <a:gd name="T17" fmla="*/ 88 h 122"/>
                <a:gd name="T18" fmla="*/ 271 w 774"/>
                <a:gd name="T19" fmla="*/ 108 h 122"/>
                <a:gd name="T20" fmla="*/ 266 w 774"/>
                <a:gd name="T21" fmla="*/ 109 h 122"/>
                <a:gd name="T22" fmla="*/ 258 w 774"/>
                <a:gd name="T23" fmla="*/ 106 h 122"/>
                <a:gd name="T24" fmla="*/ 257 w 774"/>
                <a:gd name="T25" fmla="*/ 97 h 122"/>
                <a:gd name="T26" fmla="*/ 269 w 774"/>
                <a:gd name="T27" fmla="*/ 72 h 122"/>
                <a:gd name="T28" fmla="*/ 269 w 774"/>
                <a:gd name="T29" fmla="*/ 72 h 122"/>
                <a:gd name="T30" fmla="*/ 269 w 774"/>
                <a:gd name="T31" fmla="*/ 72 h 122"/>
                <a:gd name="T32" fmla="*/ 278 w 774"/>
                <a:gd name="T33" fmla="*/ 50 h 122"/>
                <a:gd name="T34" fmla="*/ 266 w 774"/>
                <a:gd name="T35" fmla="*/ 2 h 122"/>
                <a:gd name="T36" fmla="*/ 0 w 774"/>
                <a:gd name="T37" fmla="*/ 61 h 122"/>
                <a:gd name="T38" fmla="*/ 387 w 774"/>
                <a:gd name="T39" fmla="*/ 122 h 122"/>
                <a:gd name="T40" fmla="*/ 774 w 774"/>
                <a:gd name="T41" fmla="*/ 61 h 122"/>
                <a:gd name="T42" fmla="*/ 710 w 774"/>
                <a:gd name="T43" fmla="*/ 27 h 122"/>
                <a:gd name="T44" fmla="*/ 654 w 774"/>
                <a:gd name="T45" fmla="*/ 41 h 122"/>
                <a:gd name="T46" fmla="*/ 550 w 774"/>
                <a:gd name="T47" fmla="*/ 5 h 122"/>
                <a:gd name="T48" fmla="*/ 447 w 774"/>
                <a:gd name="T49" fmla="*/ 0 h 122"/>
                <a:gd name="T50" fmla="*/ 444 w 774"/>
                <a:gd name="T51" fmla="*/ 20 h 122"/>
                <a:gd name="T52" fmla="*/ 444 w 774"/>
                <a:gd name="T53" fmla="*/ 51 h 122"/>
                <a:gd name="T54" fmla="*/ 444 w 774"/>
                <a:gd name="T55" fmla="*/ 51 h 122"/>
                <a:gd name="T56" fmla="*/ 454 w 774"/>
                <a:gd name="T57" fmla="*/ 59 h 122"/>
                <a:gd name="T58" fmla="*/ 454 w 774"/>
                <a:gd name="T59" fmla="*/ 59 h 122"/>
                <a:gd name="T60" fmla="*/ 454 w 774"/>
                <a:gd name="T61" fmla="*/ 59 h 122"/>
                <a:gd name="T62" fmla="*/ 466 w 774"/>
                <a:gd name="T63" fmla="*/ 71 h 122"/>
                <a:gd name="T64" fmla="*/ 486 w 774"/>
                <a:gd name="T65" fmla="*/ 91 h 122"/>
                <a:gd name="T66" fmla="*/ 480 w 774"/>
                <a:gd name="T67" fmla="*/ 98 h 122"/>
                <a:gd name="T68" fmla="*/ 477 w 774"/>
                <a:gd name="T69" fmla="*/ 98 h 122"/>
                <a:gd name="T70" fmla="*/ 450 w 774"/>
                <a:gd name="T71" fmla="*/ 91 h 122"/>
                <a:gd name="T72" fmla="*/ 436 w 774"/>
                <a:gd name="T73" fmla="*/ 78 h 122"/>
                <a:gd name="T74" fmla="*/ 434 w 774"/>
                <a:gd name="T75" fmla="*/ 78 h 122"/>
                <a:gd name="T76" fmla="*/ 433 w 774"/>
                <a:gd name="T77" fmla="*/ 79 h 122"/>
                <a:gd name="T78" fmla="*/ 431 w 774"/>
                <a:gd name="T79" fmla="*/ 79 h 122"/>
                <a:gd name="T80" fmla="*/ 417 w 774"/>
                <a:gd name="T81" fmla="*/ 77 h 122"/>
                <a:gd name="T82" fmla="*/ 415 w 774"/>
                <a:gd name="T83" fmla="*/ 64 h 122"/>
                <a:gd name="T84" fmla="*/ 415 w 774"/>
                <a:gd name="T85" fmla="*/ 54 h 122"/>
                <a:gd name="T86" fmla="*/ 415 w 774"/>
                <a:gd name="T87" fmla="*/ 54 h 122"/>
                <a:gd name="T88" fmla="*/ 415 w 774"/>
                <a:gd name="T89" fmla="*/ 54 h 122"/>
                <a:gd name="T90" fmla="*/ 416 w 774"/>
                <a:gd name="T91" fmla="*/ 48 h 122"/>
                <a:gd name="T92" fmla="*/ 416 w 774"/>
                <a:gd name="T93" fmla="*/ 48 h 122"/>
                <a:gd name="T94" fmla="*/ 416 w 774"/>
                <a:gd name="T95" fmla="*/ 48 h 122"/>
                <a:gd name="T96" fmla="*/ 407 w 774"/>
                <a:gd name="T97" fmla="*/ 18 h 122"/>
                <a:gd name="T98" fmla="*/ 407 w 774"/>
                <a:gd name="T99" fmla="*/ 18 h 122"/>
                <a:gd name="T100" fmla="*/ 396 w 774"/>
                <a:gd name="T101" fmla="*/ 17 h 122"/>
                <a:gd name="T102" fmla="*/ 384 w 774"/>
                <a:gd name="T103" fmla="*/ 16 h 122"/>
                <a:gd name="T104" fmla="*/ 382 w 774"/>
                <a:gd name="T105" fmla="*/ 16 h 122"/>
                <a:gd name="T106" fmla="*/ 369 w 774"/>
                <a:gd name="T107" fmla="*/ 17 h 122"/>
                <a:gd name="T108" fmla="*/ 335 w 774"/>
                <a:gd name="T109" fmla="*/ 3 h 122"/>
                <a:gd name="T110" fmla="*/ 332 w 774"/>
                <a:gd name="T11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74" h="122">
                  <a:moveTo>
                    <a:pt x="332" y="0"/>
                  </a:moveTo>
                  <a:cubicBezTo>
                    <a:pt x="322" y="0"/>
                    <a:pt x="311" y="0"/>
                    <a:pt x="301" y="1"/>
                  </a:cubicBezTo>
                  <a:cubicBezTo>
                    <a:pt x="302" y="25"/>
                    <a:pt x="302" y="47"/>
                    <a:pt x="302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7"/>
                    <a:pt x="310" y="54"/>
                    <a:pt x="310" y="57"/>
                  </a:cubicBezTo>
                  <a:cubicBezTo>
                    <a:pt x="311" y="60"/>
                    <a:pt x="314" y="70"/>
                    <a:pt x="314" y="73"/>
                  </a:cubicBezTo>
                  <a:cubicBezTo>
                    <a:pt x="313" y="77"/>
                    <a:pt x="305" y="78"/>
                    <a:pt x="305" y="78"/>
                  </a:cubicBezTo>
                  <a:cubicBezTo>
                    <a:pt x="305" y="78"/>
                    <a:pt x="299" y="84"/>
                    <a:pt x="292" y="88"/>
                  </a:cubicBezTo>
                  <a:cubicBezTo>
                    <a:pt x="286" y="93"/>
                    <a:pt x="274" y="107"/>
                    <a:pt x="271" y="108"/>
                  </a:cubicBezTo>
                  <a:cubicBezTo>
                    <a:pt x="270" y="108"/>
                    <a:pt x="268" y="109"/>
                    <a:pt x="266" y="109"/>
                  </a:cubicBezTo>
                  <a:cubicBezTo>
                    <a:pt x="264" y="109"/>
                    <a:pt x="261" y="108"/>
                    <a:pt x="258" y="106"/>
                  </a:cubicBezTo>
                  <a:cubicBezTo>
                    <a:pt x="253" y="102"/>
                    <a:pt x="255" y="100"/>
                    <a:pt x="257" y="97"/>
                  </a:cubicBezTo>
                  <a:cubicBezTo>
                    <a:pt x="260" y="94"/>
                    <a:pt x="265" y="79"/>
                    <a:pt x="269" y="72"/>
                  </a:cubicBezTo>
                  <a:cubicBezTo>
                    <a:pt x="269" y="72"/>
                    <a:pt x="269" y="72"/>
                    <a:pt x="269" y="72"/>
                  </a:cubicBezTo>
                  <a:cubicBezTo>
                    <a:pt x="269" y="72"/>
                    <a:pt x="269" y="72"/>
                    <a:pt x="269" y="72"/>
                  </a:cubicBezTo>
                  <a:cubicBezTo>
                    <a:pt x="272" y="65"/>
                    <a:pt x="278" y="50"/>
                    <a:pt x="278" y="50"/>
                  </a:cubicBezTo>
                  <a:cubicBezTo>
                    <a:pt x="277" y="48"/>
                    <a:pt x="272" y="26"/>
                    <a:pt x="266" y="2"/>
                  </a:cubicBezTo>
                  <a:cubicBezTo>
                    <a:pt x="111" y="10"/>
                    <a:pt x="0" y="33"/>
                    <a:pt x="0" y="61"/>
                  </a:cubicBezTo>
                  <a:cubicBezTo>
                    <a:pt x="0" y="95"/>
                    <a:pt x="173" y="122"/>
                    <a:pt x="387" y="122"/>
                  </a:cubicBezTo>
                  <a:cubicBezTo>
                    <a:pt x="600" y="122"/>
                    <a:pt x="774" y="95"/>
                    <a:pt x="774" y="61"/>
                  </a:cubicBezTo>
                  <a:cubicBezTo>
                    <a:pt x="774" y="48"/>
                    <a:pt x="750" y="37"/>
                    <a:pt x="710" y="27"/>
                  </a:cubicBezTo>
                  <a:cubicBezTo>
                    <a:pt x="695" y="37"/>
                    <a:pt x="675" y="41"/>
                    <a:pt x="654" y="41"/>
                  </a:cubicBezTo>
                  <a:cubicBezTo>
                    <a:pt x="621" y="41"/>
                    <a:pt x="583" y="29"/>
                    <a:pt x="550" y="5"/>
                  </a:cubicBezTo>
                  <a:cubicBezTo>
                    <a:pt x="518" y="3"/>
                    <a:pt x="483" y="1"/>
                    <a:pt x="447" y="0"/>
                  </a:cubicBezTo>
                  <a:cubicBezTo>
                    <a:pt x="446" y="9"/>
                    <a:pt x="445" y="16"/>
                    <a:pt x="444" y="20"/>
                  </a:cubicBezTo>
                  <a:cubicBezTo>
                    <a:pt x="443" y="29"/>
                    <a:pt x="444" y="51"/>
                    <a:pt x="444" y="51"/>
                  </a:cubicBezTo>
                  <a:cubicBezTo>
                    <a:pt x="444" y="51"/>
                    <a:pt x="444" y="51"/>
                    <a:pt x="444" y="51"/>
                  </a:cubicBezTo>
                  <a:cubicBezTo>
                    <a:pt x="446" y="53"/>
                    <a:pt x="450" y="55"/>
                    <a:pt x="454" y="59"/>
                  </a:cubicBezTo>
                  <a:cubicBezTo>
                    <a:pt x="454" y="59"/>
                    <a:pt x="454" y="59"/>
                    <a:pt x="454" y="59"/>
                  </a:cubicBezTo>
                  <a:cubicBezTo>
                    <a:pt x="454" y="59"/>
                    <a:pt x="454" y="59"/>
                    <a:pt x="454" y="59"/>
                  </a:cubicBezTo>
                  <a:cubicBezTo>
                    <a:pt x="458" y="63"/>
                    <a:pt x="462" y="67"/>
                    <a:pt x="466" y="71"/>
                  </a:cubicBezTo>
                  <a:cubicBezTo>
                    <a:pt x="475" y="83"/>
                    <a:pt x="486" y="89"/>
                    <a:pt x="486" y="91"/>
                  </a:cubicBezTo>
                  <a:cubicBezTo>
                    <a:pt x="486" y="93"/>
                    <a:pt x="483" y="96"/>
                    <a:pt x="480" y="98"/>
                  </a:cubicBezTo>
                  <a:cubicBezTo>
                    <a:pt x="479" y="98"/>
                    <a:pt x="478" y="98"/>
                    <a:pt x="477" y="98"/>
                  </a:cubicBezTo>
                  <a:cubicBezTo>
                    <a:pt x="470" y="98"/>
                    <a:pt x="453" y="95"/>
                    <a:pt x="450" y="91"/>
                  </a:cubicBezTo>
                  <a:cubicBezTo>
                    <a:pt x="446" y="87"/>
                    <a:pt x="439" y="79"/>
                    <a:pt x="436" y="78"/>
                  </a:cubicBezTo>
                  <a:cubicBezTo>
                    <a:pt x="435" y="78"/>
                    <a:pt x="434" y="78"/>
                    <a:pt x="434" y="78"/>
                  </a:cubicBezTo>
                  <a:cubicBezTo>
                    <a:pt x="433" y="78"/>
                    <a:pt x="435" y="79"/>
                    <a:pt x="433" y="79"/>
                  </a:cubicBezTo>
                  <a:cubicBezTo>
                    <a:pt x="432" y="79"/>
                    <a:pt x="432" y="79"/>
                    <a:pt x="431" y="79"/>
                  </a:cubicBezTo>
                  <a:cubicBezTo>
                    <a:pt x="427" y="79"/>
                    <a:pt x="419" y="77"/>
                    <a:pt x="417" y="77"/>
                  </a:cubicBezTo>
                  <a:cubicBezTo>
                    <a:pt x="415" y="77"/>
                    <a:pt x="415" y="69"/>
                    <a:pt x="415" y="64"/>
                  </a:cubicBezTo>
                  <a:cubicBezTo>
                    <a:pt x="415" y="61"/>
                    <a:pt x="415" y="57"/>
                    <a:pt x="415" y="54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6" y="51"/>
                    <a:pt x="416" y="48"/>
                    <a:pt x="416" y="48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3" y="41"/>
                    <a:pt x="410" y="30"/>
                    <a:pt x="407" y="18"/>
                  </a:cubicBezTo>
                  <a:cubicBezTo>
                    <a:pt x="407" y="18"/>
                    <a:pt x="407" y="18"/>
                    <a:pt x="407" y="18"/>
                  </a:cubicBezTo>
                  <a:cubicBezTo>
                    <a:pt x="405" y="18"/>
                    <a:pt x="401" y="17"/>
                    <a:pt x="396" y="17"/>
                  </a:cubicBezTo>
                  <a:cubicBezTo>
                    <a:pt x="392" y="16"/>
                    <a:pt x="388" y="16"/>
                    <a:pt x="384" y="16"/>
                  </a:cubicBezTo>
                  <a:cubicBezTo>
                    <a:pt x="384" y="16"/>
                    <a:pt x="383" y="16"/>
                    <a:pt x="382" y="16"/>
                  </a:cubicBezTo>
                  <a:cubicBezTo>
                    <a:pt x="379" y="16"/>
                    <a:pt x="375" y="17"/>
                    <a:pt x="369" y="17"/>
                  </a:cubicBezTo>
                  <a:cubicBezTo>
                    <a:pt x="359" y="17"/>
                    <a:pt x="347" y="15"/>
                    <a:pt x="335" y="3"/>
                  </a:cubicBezTo>
                  <a:cubicBezTo>
                    <a:pt x="334" y="2"/>
                    <a:pt x="333" y="1"/>
                    <a:pt x="332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î$ľïḋê">
              <a:extLst>
                <a:ext uri="{FF2B5EF4-FFF2-40B4-BE49-F238E27FC236}">
                  <a16:creationId xmlns:a16="http://schemas.microsoft.com/office/drawing/2014/main" id="{E1DD42AF-A213-4CD8-BAA9-74E522A4AEF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436938" y="1495426"/>
              <a:ext cx="5291138" cy="3949700"/>
            </a:xfrm>
            <a:custGeom>
              <a:avLst/>
              <a:gdLst>
                <a:gd name="T0" fmla="*/ 154 w 969"/>
                <a:gd name="T1" fmla="*/ 296 h 724"/>
                <a:gd name="T2" fmla="*/ 33 w 969"/>
                <a:gd name="T3" fmla="*/ 478 h 724"/>
                <a:gd name="T4" fmla="*/ 217 w 969"/>
                <a:gd name="T5" fmla="*/ 598 h 724"/>
                <a:gd name="T6" fmla="*/ 385 w 969"/>
                <a:gd name="T7" fmla="*/ 601 h 724"/>
                <a:gd name="T8" fmla="*/ 617 w 969"/>
                <a:gd name="T9" fmla="*/ 621 h 724"/>
                <a:gd name="T10" fmla="*/ 841 w 969"/>
                <a:gd name="T11" fmla="*/ 671 h 724"/>
                <a:gd name="T12" fmla="*/ 773 w 969"/>
                <a:gd name="T13" fmla="*/ 516 h 724"/>
                <a:gd name="T14" fmla="*/ 684 w 969"/>
                <a:gd name="T15" fmla="*/ 358 h 724"/>
                <a:gd name="T16" fmla="*/ 952 w 969"/>
                <a:gd name="T17" fmla="*/ 154 h 724"/>
                <a:gd name="T18" fmla="*/ 865 w 969"/>
                <a:gd name="T19" fmla="*/ 21 h 724"/>
                <a:gd name="T20" fmla="*/ 734 w 969"/>
                <a:gd name="T21" fmla="*/ 174 h 724"/>
                <a:gd name="T22" fmla="*/ 552 w 969"/>
                <a:gd name="T23" fmla="*/ 107 h 724"/>
                <a:gd name="T24" fmla="*/ 352 w 969"/>
                <a:gd name="T25" fmla="*/ 60 h 724"/>
                <a:gd name="T26" fmla="*/ 154 w 969"/>
                <a:gd name="T27" fmla="*/ 296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9" h="724">
                  <a:moveTo>
                    <a:pt x="154" y="296"/>
                  </a:moveTo>
                  <a:cubicBezTo>
                    <a:pt x="154" y="296"/>
                    <a:pt x="0" y="330"/>
                    <a:pt x="33" y="478"/>
                  </a:cubicBezTo>
                  <a:cubicBezTo>
                    <a:pt x="65" y="626"/>
                    <a:pt x="183" y="540"/>
                    <a:pt x="217" y="598"/>
                  </a:cubicBezTo>
                  <a:cubicBezTo>
                    <a:pt x="233" y="624"/>
                    <a:pt x="305" y="613"/>
                    <a:pt x="385" y="601"/>
                  </a:cubicBezTo>
                  <a:cubicBezTo>
                    <a:pt x="478" y="587"/>
                    <a:pt x="582" y="573"/>
                    <a:pt x="617" y="621"/>
                  </a:cubicBezTo>
                  <a:cubicBezTo>
                    <a:pt x="682" y="711"/>
                    <a:pt x="800" y="724"/>
                    <a:pt x="841" y="671"/>
                  </a:cubicBezTo>
                  <a:cubicBezTo>
                    <a:pt x="882" y="617"/>
                    <a:pt x="856" y="512"/>
                    <a:pt x="773" y="516"/>
                  </a:cubicBezTo>
                  <a:cubicBezTo>
                    <a:pt x="691" y="521"/>
                    <a:pt x="641" y="420"/>
                    <a:pt x="684" y="358"/>
                  </a:cubicBezTo>
                  <a:cubicBezTo>
                    <a:pt x="728" y="296"/>
                    <a:pt x="932" y="261"/>
                    <a:pt x="952" y="154"/>
                  </a:cubicBezTo>
                  <a:cubicBezTo>
                    <a:pt x="969" y="56"/>
                    <a:pt x="933" y="0"/>
                    <a:pt x="865" y="21"/>
                  </a:cubicBezTo>
                  <a:cubicBezTo>
                    <a:pt x="798" y="42"/>
                    <a:pt x="852" y="131"/>
                    <a:pt x="734" y="174"/>
                  </a:cubicBezTo>
                  <a:cubicBezTo>
                    <a:pt x="625" y="213"/>
                    <a:pt x="585" y="149"/>
                    <a:pt x="552" y="107"/>
                  </a:cubicBezTo>
                  <a:cubicBezTo>
                    <a:pt x="508" y="51"/>
                    <a:pt x="418" y="8"/>
                    <a:pt x="352" y="60"/>
                  </a:cubicBezTo>
                  <a:cubicBezTo>
                    <a:pt x="273" y="122"/>
                    <a:pt x="287" y="270"/>
                    <a:pt x="154" y="296"/>
                  </a:cubicBezTo>
                </a:path>
              </a:pathLst>
            </a:custGeom>
            <a:solidFill>
              <a:srgbClr val="C5C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ísḷidè">
              <a:extLst>
                <a:ext uri="{FF2B5EF4-FFF2-40B4-BE49-F238E27FC236}">
                  <a16:creationId xmlns:a16="http://schemas.microsoft.com/office/drawing/2014/main" id="{E02449CC-618F-4769-94AF-6FEC6059B1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100888" y="1844676"/>
              <a:ext cx="1157288" cy="1227138"/>
            </a:xfrm>
            <a:custGeom>
              <a:avLst/>
              <a:gdLst>
                <a:gd name="T0" fmla="*/ 106 w 212"/>
                <a:gd name="T1" fmla="*/ 225 h 225"/>
                <a:gd name="T2" fmla="*/ 0 w 212"/>
                <a:gd name="T3" fmla="*/ 113 h 225"/>
                <a:gd name="T4" fmla="*/ 106 w 212"/>
                <a:gd name="T5" fmla="*/ 0 h 225"/>
                <a:gd name="T6" fmla="*/ 212 w 212"/>
                <a:gd name="T7" fmla="*/ 113 h 225"/>
                <a:gd name="T8" fmla="*/ 106 w 212"/>
                <a:gd name="T9" fmla="*/ 225 h 225"/>
                <a:gd name="T10" fmla="*/ 106 w 212"/>
                <a:gd name="T11" fmla="*/ 4 h 225"/>
                <a:gd name="T12" fmla="*/ 4 w 212"/>
                <a:gd name="T13" fmla="*/ 113 h 225"/>
                <a:gd name="T14" fmla="*/ 106 w 212"/>
                <a:gd name="T15" fmla="*/ 221 h 225"/>
                <a:gd name="T16" fmla="*/ 208 w 212"/>
                <a:gd name="T17" fmla="*/ 113 h 225"/>
                <a:gd name="T18" fmla="*/ 106 w 212"/>
                <a:gd name="T19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25">
                  <a:moveTo>
                    <a:pt x="106" y="225"/>
                  </a:moveTo>
                  <a:cubicBezTo>
                    <a:pt x="48" y="225"/>
                    <a:pt x="0" y="175"/>
                    <a:pt x="0" y="113"/>
                  </a:cubicBezTo>
                  <a:cubicBezTo>
                    <a:pt x="0" y="50"/>
                    <a:pt x="48" y="0"/>
                    <a:pt x="106" y="0"/>
                  </a:cubicBezTo>
                  <a:cubicBezTo>
                    <a:pt x="165" y="0"/>
                    <a:pt x="212" y="50"/>
                    <a:pt x="212" y="113"/>
                  </a:cubicBezTo>
                  <a:cubicBezTo>
                    <a:pt x="212" y="175"/>
                    <a:pt x="165" y="225"/>
                    <a:pt x="106" y="225"/>
                  </a:cubicBezTo>
                  <a:close/>
                  <a:moveTo>
                    <a:pt x="106" y="4"/>
                  </a:moveTo>
                  <a:cubicBezTo>
                    <a:pt x="50" y="4"/>
                    <a:pt x="4" y="53"/>
                    <a:pt x="4" y="113"/>
                  </a:cubicBezTo>
                  <a:cubicBezTo>
                    <a:pt x="4" y="173"/>
                    <a:pt x="50" y="221"/>
                    <a:pt x="106" y="221"/>
                  </a:cubicBezTo>
                  <a:cubicBezTo>
                    <a:pt x="163" y="221"/>
                    <a:pt x="208" y="173"/>
                    <a:pt x="208" y="113"/>
                  </a:cubicBezTo>
                  <a:cubicBezTo>
                    <a:pt x="208" y="53"/>
                    <a:pt x="163" y="4"/>
                    <a:pt x="106" y="4"/>
                  </a:cubicBezTo>
                  <a:close/>
                </a:path>
              </a:pathLst>
            </a:cu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íśľiḋê">
              <a:extLst>
                <a:ext uri="{FF2B5EF4-FFF2-40B4-BE49-F238E27FC236}">
                  <a16:creationId xmlns:a16="http://schemas.microsoft.com/office/drawing/2014/main" id="{5AC65AB7-9C62-433B-9CD8-3EC4344191A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50138" y="2863851"/>
              <a:ext cx="912813" cy="900113"/>
            </a:xfrm>
            <a:prstGeom prst="ellipse">
              <a:avLst/>
            </a:prstGeom>
            <a:solidFill>
              <a:srgbClr val="FFF1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íšḷîḍé">
              <a:extLst>
                <a:ext uri="{FF2B5EF4-FFF2-40B4-BE49-F238E27FC236}">
                  <a16:creationId xmlns:a16="http://schemas.microsoft.com/office/drawing/2014/main" id="{38BC510E-5F5A-4750-94A5-14539B130CA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034338" y="3257551"/>
              <a:ext cx="534988" cy="533400"/>
            </a:xfrm>
            <a:custGeom>
              <a:avLst/>
              <a:gdLst>
                <a:gd name="T0" fmla="*/ 88 w 98"/>
                <a:gd name="T1" fmla="*/ 56 h 98"/>
                <a:gd name="T2" fmla="*/ 98 w 98"/>
                <a:gd name="T3" fmla="*/ 54 h 98"/>
                <a:gd name="T4" fmla="*/ 96 w 98"/>
                <a:gd name="T5" fmla="*/ 36 h 98"/>
                <a:gd name="T6" fmla="*/ 87 w 98"/>
                <a:gd name="T7" fmla="*/ 35 h 98"/>
                <a:gd name="T8" fmla="*/ 86 w 98"/>
                <a:gd name="T9" fmla="*/ 32 h 98"/>
                <a:gd name="T10" fmla="*/ 92 w 98"/>
                <a:gd name="T11" fmla="*/ 25 h 98"/>
                <a:gd name="T12" fmla="*/ 81 w 98"/>
                <a:gd name="T13" fmla="*/ 11 h 98"/>
                <a:gd name="T14" fmla="*/ 72 w 98"/>
                <a:gd name="T15" fmla="*/ 16 h 98"/>
                <a:gd name="T16" fmla="*/ 69 w 98"/>
                <a:gd name="T17" fmla="*/ 14 h 98"/>
                <a:gd name="T18" fmla="*/ 71 w 98"/>
                <a:gd name="T19" fmla="*/ 5 h 98"/>
                <a:gd name="T20" fmla="*/ 53 w 98"/>
                <a:gd name="T21" fmla="*/ 0 h 98"/>
                <a:gd name="T22" fmla="*/ 49 w 98"/>
                <a:gd name="T23" fmla="*/ 9 h 98"/>
                <a:gd name="T24" fmla="*/ 49 w 98"/>
                <a:gd name="T25" fmla="*/ 9 h 98"/>
                <a:gd name="T26" fmla="*/ 45 w 98"/>
                <a:gd name="T27" fmla="*/ 9 h 98"/>
                <a:gd name="T28" fmla="*/ 40 w 98"/>
                <a:gd name="T29" fmla="*/ 0 h 98"/>
                <a:gd name="T30" fmla="*/ 23 w 98"/>
                <a:gd name="T31" fmla="*/ 7 h 98"/>
                <a:gd name="T32" fmla="*/ 26 w 98"/>
                <a:gd name="T33" fmla="*/ 16 h 98"/>
                <a:gd name="T34" fmla="*/ 22 w 98"/>
                <a:gd name="T35" fmla="*/ 19 h 98"/>
                <a:gd name="T36" fmla="*/ 13 w 98"/>
                <a:gd name="T37" fmla="*/ 15 h 98"/>
                <a:gd name="T38" fmla="*/ 4 w 98"/>
                <a:gd name="T39" fmla="*/ 31 h 98"/>
                <a:gd name="T40" fmla="*/ 11 w 98"/>
                <a:gd name="T41" fmla="*/ 37 h 98"/>
                <a:gd name="T42" fmla="*/ 10 w 98"/>
                <a:gd name="T43" fmla="*/ 41 h 98"/>
                <a:gd name="T44" fmla="*/ 0 w 98"/>
                <a:gd name="T45" fmla="*/ 42 h 98"/>
                <a:gd name="T46" fmla="*/ 2 w 98"/>
                <a:gd name="T47" fmla="*/ 61 h 98"/>
                <a:gd name="T48" fmla="*/ 11 w 98"/>
                <a:gd name="T49" fmla="*/ 61 h 98"/>
                <a:gd name="T50" fmla="*/ 13 w 98"/>
                <a:gd name="T51" fmla="*/ 65 h 98"/>
                <a:gd name="T52" fmla="*/ 6 w 98"/>
                <a:gd name="T53" fmla="*/ 72 h 98"/>
                <a:gd name="T54" fmla="*/ 18 w 98"/>
                <a:gd name="T55" fmla="*/ 86 h 98"/>
                <a:gd name="T56" fmla="*/ 26 w 98"/>
                <a:gd name="T57" fmla="*/ 81 h 98"/>
                <a:gd name="T58" fmla="*/ 29 w 98"/>
                <a:gd name="T59" fmla="*/ 83 h 98"/>
                <a:gd name="T60" fmla="*/ 28 w 98"/>
                <a:gd name="T61" fmla="*/ 93 h 98"/>
                <a:gd name="T62" fmla="*/ 46 w 98"/>
                <a:gd name="T63" fmla="*/ 98 h 98"/>
                <a:gd name="T64" fmla="*/ 49 w 98"/>
                <a:gd name="T65" fmla="*/ 89 h 98"/>
                <a:gd name="T66" fmla="*/ 54 w 98"/>
                <a:gd name="T67" fmla="*/ 88 h 98"/>
                <a:gd name="T68" fmla="*/ 59 w 98"/>
                <a:gd name="T69" fmla="*/ 97 h 98"/>
                <a:gd name="T70" fmla="*/ 76 w 98"/>
                <a:gd name="T71" fmla="*/ 90 h 98"/>
                <a:gd name="T72" fmla="*/ 74 w 98"/>
                <a:gd name="T73" fmla="*/ 80 h 98"/>
                <a:gd name="T74" fmla="*/ 77 w 98"/>
                <a:gd name="T75" fmla="*/ 78 h 98"/>
                <a:gd name="T76" fmla="*/ 86 w 98"/>
                <a:gd name="T77" fmla="*/ 81 h 98"/>
                <a:gd name="T78" fmla="*/ 95 w 98"/>
                <a:gd name="T79" fmla="*/ 66 h 98"/>
                <a:gd name="T80" fmla="*/ 88 w 98"/>
                <a:gd name="T81" fmla="*/ 60 h 98"/>
                <a:gd name="T82" fmla="*/ 88 w 98"/>
                <a:gd name="T83" fmla="*/ 56 h 98"/>
                <a:gd name="T84" fmla="*/ 49 w 98"/>
                <a:gd name="T85" fmla="*/ 58 h 98"/>
                <a:gd name="T86" fmla="*/ 40 w 98"/>
                <a:gd name="T87" fmla="*/ 49 h 98"/>
                <a:gd name="T88" fmla="*/ 49 w 98"/>
                <a:gd name="T89" fmla="*/ 40 h 98"/>
                <a:gd name="T90" fmla="*/ 58 w 98"/>
                <a:gd name="T91" fmla="*/ 49 h 98"/>
                <a:gd name="T92" fmla="*/ 49 w 98"/>
                <a:gd name="T93" fmla="*/ 5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8" h="98">
                  <a:moveTo>
                    <a:pt x="88" y="56"/>
                  </a:moveTo>
                  <a:cubicBezTo>
                    <a:pt x="98" y="54"/>
                    <a:pt x="98" y="54"/>
                    <a:pt x="98" y="5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6" y="34"/>
                    <a:pt x="86" y="33"/>
                    <a:pt x="86" y="3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1" y="16"/>
                    <a:pt x="70" y="15"/>
                    <a:pt x="69" y="14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8" y="9"/>
                    <a:pt x="46" y="9"/>
                    <a:pt x="45" y="9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4" y="17"/>
                    <a:pt x="23" y="18"/>
                    <a:pt x="22" y="19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8"/>
                    <a:pt x="10" y="39"/>
                    <a:pt x="10" y="4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3"/>
                    <a:pt x="12" y="64"/>
                    <a:pt x="13" y="65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2"/>
                    <a:pt x="28" y="83"/>
                    <a:pt x="29" y="83"/>
                  </a:cubicBezTo>
                  <a:cubicBezTo>
                    <a:pt x="28" y="93"/>
                    <a:pt x="28" y="93"/>
                    <a:pt x="28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1" y="89"/>
                    <a:pt x="53" y="89"/>
                    <a:pt x="54" y="88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76" y="90"/>
                    <a:pt x="76" y="90"/>
                    <a:pt x="76" y="90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5" y="79"/>
                    <a:pt x="76" y="79"/>
                    <a:pt x="77" y="78"/>
                  </a:cubicBezTo>
                  <a:cubicBezTo>
                    <a:pt x="86" y="81"/>
                    <a:pt x="86" y="81"/>
                    <a:pt x="86" y="81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58"/>
                    <a:pt x="88" y="57"/>
                    <a:pt x="88" y="56"/>
                  </a:cubicBezTo>
                  <a:close/>
                  <a:moveTo>
                    <a:pt x="49" y="58"/>
                  </a:moveTo>
                  <a:cubicBezTo>
                    <a:pt x="44" y="58"/>
                    <a:pt x="40" y="54"/>
                    <a:pt x="40" y="49"/>
                  </a:cubicBezTo>
                  <a:cubicBezTo>
                    <a:pt x="40" y="44"/>
                    <a:pt x="44" y="40"/>
                    <a:pt x="49" y="40"/>
                  </a:cubicBezTo>
                  <a:cubicBezTo>
                    <a:pt x="54" y="40"/>
                    <a:pt x="58" y="44"/>
                    <a:pt x="58" y="49"/>
                  </a:cubicBezTo>
                  <a:cubicBezTo>
                    <a:pt x="58" y="54"/>
                    <a:pt x="54" y="58"/>
                    <a:pt x="49" y="58"/>
                  </a:cubicBezTo>
                  <a:close/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i$1iḍè">
              <a:extLst>
                <a:ext uri="{FF2B5EF4-FFF2-40B4-BE49-F238E27FC236}">
                  <a16:creationId xmlns:a16="http://schemas.microsoft.com/office/drawing/2014/main" id="{BE279C16-537C-476A-8F00-A961604CE25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46750" y="1101726"/>
              <a:ext cx="1327150" cy="1331913"/>
            </a:xfrm>
            <a:custGeom>
              <a:avLst/>
              <a:gdLst>
                <a:gd name="T0" fmla="*/ 219 w 243"/>
                <a:gd name="T1" fmla="*/ 140 h 244"/>
                <a:gd name="T2" fmla="*/ 243 w 243"/>
                <a:gd name="T3" fmla="*/ 135 h 244"/>
                <a:gd name="T4" fmla="*/ 239 w 243"/>
                <a:gd name="T5" fmla="*/ 89 h 244"/>
                <a:gd name="T6" fmla="*/ 215 w 243"/>
                <a:gd name="T7" fmla="*/ 88 h 244"/>
                <a:gd name="T8" fmla="*/ 212 w 243"/>
                <a:gd name="T9" fmla="*/ 81 h 244"/>
                <a:gd name="T10" fmla="*/ 228 w 243"/>
                <a:gd name="T11" fmla="*/ 63 h 244"/>
                <a:gd name="T12" fmla="*/ 200 w 243"/>
                <a:gd name="T13" fmla="*/ 28 h 244"/>
                <a:gd name="T14" fmla="*/ 179 w 243"/>
                <a:gd name="T15" fmla="*/ 41 h 244"/>
                <a:gd name="T16" fmla="*/ 172 w 243"/>
                <a:gd name="T17" fmla="*/ 36 h 244"/>
                <a:gd name="T18" fmla="*/ 175 w 243"/>
                <a:gd name="T19" fmla="*/ 12 h 244"/>
                <a:gd name="T20" fmla="*/ 131 w 243"/>
                <a:gd name="T21" fmla="*/ 0 h 244"/>
                <a:gd name="T22" fmla="*/ 122 w 243"/>
                <a:gd name="T23" fmla="*/ 22 h 244"/>
                <a:gd name="T24" fmla="*/ 121 w 243"/>
                <a:gd name="T25" fmla="*/ 22 h 244"/>
                <a:gd name="T26" fmla="*/ 111 w 243"/>
                <a:gd name="T27" fmla="*/ 23 h 244"/>
                <a:gd name="T28" fmla="*/ 99 w 243"/>
                <a:gd name="T29" fmla="*/ 2 h 244"/>
                <a:gd name="T30" fmla="*/ 57 w 243"/>
                <a:gd name="T31" fmla="*/ 18 h 244"/>
                <a:gd name="T32" fmla="*/ 62 w 243"/>
                <a:gd name="T33" fmla="*/ 41 h 244"/>
                <a:gd name="T34" fmla="*/ 53 w 243"/>
                <a:gd name="T35" fmla="*/ 49 h 244"/>
                <a:gd name="T36" fmla="*/ 32 w 243"/>
                <a:gd name="T37" fmla="*/ 39 h 244"/>
                <a:gd name="T38" fmla="*/ 7 w 243"/>
                <a:gd name="T39" fmla="*/ 77 h 244"/>
                <a:gd name="T40" fmla="*/ 26 w 243"/>
                <a:gd name="T41" fmla="*/ 92 h 244"/>
                <a:gd name="T42" fmla="*/ 23 w 243"/>
                <a:gd name="T43" fmla="*/ 102 h 244"/>
                <a:gd name="T44" fmla="*/ 0 w 243"/>
                <a:gd name="T45" fmla="*/ 106 h 244"/>
                <a:gd name="T46" fmla="*/ 3 w 243"/>
                <a:gd name="T47" fmla="*/ 152 h 244"/>
                <a:gd name="T48" fmla="*/ 26 w 243"/>
                <a:gd name="T49" fmla="*/ 153 h 244"/>
                <a:gd name="T50" fmla="*/ 30 w 243"/>
                <a:gd name="T51" fmla="*/ 163 h 244"/>
                <a:gd name="T52" fmla="*/ 14 w 243"/>
                <a:gd name="T53" fmla="*/ 180 h 244"/>
                <a:gd name="T54" fmla="*/ 43 w 243"/>
                <a:gd name="T55" fmla="*/ 216 h 244"/>
                <a:gd name="T56" fmla="*/ 63 w 243"/>
                <a:gd name="T57" fmla="*/ 203 h 244"/>
                <a:gd name="T58" fmla="*/ 72 w 243"/>
                <a:gd name="T59" fmla="*/ 209 h 244"/>
                <a:gd name="T60" fmla="*/ 69 w 243"/>
                <a:gd name="T61" fmla="*/ 232 h 244"/>
                <a:gd name="T62" fmla="*/ 113 w 243"/>
                <a:gd name="T63" fmla="*/ 244 h 244"/>
                <a:gd name="T64" fmla="*/ 122 w 243"/>
                <a:gd name="T65" fmla="*/ 222 h 244"/>
                <a:gd name="T66" fmla="*/ 134 w 243"/>
                <a:gd name="T67" fmla="*/ 221 h 244"/>
                <a:gd name="T68" fmla="*/ 146 w 243"/>
                <a:gd name="T69" fmla="*/ 241 h 244"/>
                <a:gd name="T70" fmla="*/ 188 w 243"/>
                <a:gd name="T71" fmla="*/ 224 h 244"/>
                <a:gd name="T72" fmla="*/ 182 w 243"/>
                <a:gd name="T73" fmla="*/ 201 h 244"/>
                <a:gd name="T74" fmla="*/ 190 w 243"/>
                <a:gd name="T75" fmla="*/ 194 h 244"/>
                <a:gd name="T76" fmla="*/ 212 w 243"/>
                <a:gd name="T77" fmla="*/ 204 h 244"/>
                <a:gd name="T78" fmla="*/ 236 w 243"/>
                <a:gd name="T79" fmla="*/ 165 h 244"/>
                <a:gd name="T80" fmla="*/ 217 w 243"/>
                <a:gd name="T81" fmla="*/ 150 h 244"/>
                <a:gd name="T82" fmla="*/ 219 w 243"/>
                <a:gd name="T83" fmla="*/ 140 h 244"/>
                <a:gd name="T84" fmla="*/ 121 w 243"/>
                <a:gd name="T85" fmla="*/ 145 h 244"/>
                <a:gd name="T86" fmla="*/ 98 w 243"/>
                <a:gd name="T87" fmla="*/ 122 h 244"/>
                <a:gd name="T88" fmla="*/ 121 w 243"/>
                <a:gd name="T89" fmla="*/ 99 h 244"/>
                <a:gd name="T90" fmla="*/ 144 w 243"/>
                <a:gd name="T91" fmla="*/ 122 h 244"/>
                <a:gd name="T92" fmla="*/ 121 w 243"/>
                <a:gd name="T93" fmla="*/ 14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3" h="244">
                  <a:moveTo>
                    <a:pt x="219" y="140"/>
                  </a:moveTo>
                  <a:cubicBezTo>
                    <a:pt x="243" y="135"/>
                    <a:pt x="243" y="135"/>
                    <a:pt x="243" y="135"/>
                  </a:cubicBezTo>
                  <a:cubicBezTo>
                    <a:pt x="239" y="89"/>
                    <a:pt x="239" y="89"/>
                    <a:pt x="239" y="89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4" y="86"/>
                    <a:pt x="213" y="83"/>
                    <a:pt x="212" y="81"/>
                  </a:cubicBezTo>
                  <a:cubicBezTo>
                    <a:pt x="228" y="63"/>
                    <a:pt x="228" y="63"/>
                    <a:pt x="228" y="63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179" y="41"/>
                    <a:pt x="179" y="41"/>
                    <a:pt x="179" y="41"/>
                  </a:cubicBezTo>
                  <a:cubicBezTo>
                    <a:pt x="177" y="39"/>
                    <a:pt x="174" y="38"/>
                    <a:pt x="172" y="36"/>
                  </a:cubicBezTo>
                  <a:cubicBezTo>
                    <a:pt x="175" y="12"/>
                    <a:pt x="175" y="12"/>
                    <a:pt x="175" y="12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18" y="22"/>
                    <a:pt x="114" y="22"/>
                    <a:pt x="111" y="23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9" y="44"/>
                    <a:pt x="56" y="46"/>
                    <a:pt x="53" y="4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26" y="92"/>
                    <a:pt x="26" y="92"/>
                    <a:pt x="26" y="92"/>
                  </a:cubicBezTo>
                  <a:cubicBezTo>
                    <a:pt x="25" y="95"/>
                    <a:pt x="24" y="98"/>
                    <a:pt x="23" y="102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26" y="153"/>
                    <a:pt x="26" y="153"/>
                    <a:pt x="26" y="153"/>
                  </a:cubicBezTo>
                  <a:cubicBezTo>
                    <a:pt x="28" y="157"/>
                    <a:pt x="29" y="160"/>
                    <a:pt x="30" y="163"/>
                  </a:cubicBezTo>
                  <a:cubicBezTo>
                    <a:pt x="14" y="180"/>
                    <a:pt x="14" y="180"/>
                    <a:pt x="14" y="180"/>
                  </a:cubicBezTo>
                  <a:cubicBezTo>
                    <a:pt x="43" y="216"/>
                    <a:pt x="43" y="216"/>
                    <a:pt x="43" y="216"/>
                  </a:cubicBezTo>
                  <a:cubicBezTo>
                    <a:pt x="63" y="203"/>
                    <a:pt x="63" y="203"/>
                    <a:pt x="63" y="203"/>
                  </a:cubicBezTo>
                  <a:cubicBezTo>
                    <a:pt x="66" y="205"/>
                    <a:pt x="69" y="207"/>
                    <a:pt x="72" y="209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113" y="244"/>
                    <a:pt x="113" y="244"/>
                    <a:pt x="113" y="244"/>
                  </a:cubicBezTo>
                  <a:cubicBezTo>
                    <a:pt x="122" y="222"/>
                    <a:pt x="122" y="222"/>
                    <a:pt x="122" y="222"/>
                  </a:cubicBezTo>
                  <a:cubicBezTo>
                    <a:pt x="126" y="222"/>
                    <a:pt x="130" y="221"/>
                    <a:pt x="134" y="221"/>
                  </a:cubicBezTo>
                  <a:cubicBezTo>
                    <a:pt x="146" y="241"/>
                    <a:pt x="146" y="241"/>
                    <a:pt x="146" y="241"/>
                  </a:cubicBezTo>
                  <a:cubicBezTo>
                    <a:pt x="188" y="224"/>
                    <a:pt x="188" y="224"/>
                    <a:pt x="188" y="224"/>
                  </a:cubicBezTo>
                  <a:cubicBezTo>
                    <a:pt x="182" y="201"/>
                    <a:pt x="182" y="201"/>
                    <a:pt x="182" y="201"/>
                  </a:cubicBezTo>
                  <a:cubicBezTo>
                    <a:pt x="185" y="199"/>
                    <a:pt x="187" y="196"/>
                    <a:pt x="190" y="194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36" y="165"/>
                    <a:pt x="236" y="165"/>
                    <a:pt x="236" y="165"/>
                  </a:cubicBezTo>
                  <a:cubicBezTo>
                    <a:pt x="217" y="150"/>
                    <a:pt x="217" y="150"/>
                    <a:pt x="217" y="150"/>
                  </a:cubicBezTo>
                  <a:cubicBezTo>
                    <a:pt x="218" y="146"/>
                    <a:pt x="219" y="143"/>
                    <a:pt x="219" y="140"/>
                  </a:cubicBezTo>
                  <a:close/>
                  <a:moveTo>
                    <a:pt x="121" y="145"/>
                  </a:moveTo>
                  <a:cubicBezTo>
                    <a:pt x="108" y="145"/>
                    <a:pt x="98" y="134"/>
                    <a:pt x="98" y="122"/>
                  </a:cubicBezTo>
                  <a:cubicBezTo>
                    <a:pt x="98" y="109"/>
                    <a:pt x="108" y="99"/>
                    <a:pt x="121" y="99"/>
                  </a:cubicBezTo>
                  <a:cubicBezTo>
                    <a:pt x="134" y="99"/>
                    <a:pt x="144" y="109"/>
                    <a:pt x="144" y="122"/>
                  </a:cubicBezTo>
                  <a:cubicBezTo>
                    <a:pt x="144" y="134"/>
                    <a:pt x="134" y="145"/>
                    <a:pt x="121" y="145"/>
                  </a:cubicBezTo>
                  <a:close/>
                </a:path>
              </a:pathLst>
            </a:custGeom>
            <a:solidFill>
              <a:srgbClr val="EFC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0" name="íṡḻïḍé">
              <a:extLst>
                <a:ext uri="{FF2B5EF4-FFF2-40B4-BE49-F238E27FC236}">
                  <a16:creationId xmlns:a16="http://schemas.microsoft.com/office/drawing/2014/main" id="{C78DCF94-C439-458D-9319-08F57A6336B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83150" y="1641476"/>
              <a:ext cx="879475" cy="879475"/>
            </a:xfrm>
            <a:custGeom>
              <a:avLst/>
              <a:gdLst>
                <a:gd name="T0" fmla="*/ 145 w 161"/>
                <a:gd name="T1" fmla="*/ 92 h 161"/>
                <a:gd name="T2" fmla="*/ 161 w 161"/>
                <a:gd name="T3" fmla="*/ 89 h 161"/>
                <a:gd name="T4" fmla="*/ 158 w 161"/>
                <a:gd name="T5" fmla="*/ 59 h 161"/>
                <a:gd name="T6" fmla="*/ 142 w 161"/>
                <a:gd name="T7" fmla="*/ 58 h 161"/>
                <a:gd name="T8" fmla="*/ 140 w 161"/>
                <a:gd name="T9" fmla="*/ 53 h 161"/>
                <a:gd name="T10" fmla="*/ 151 w 161"/>
                <a:gd name="T11" fmla="*/ 42 h 161"/>
                <a:gd name="T12" fmla="*/ 132 w 161"/>
                <a:gd name="T13" fmla="*/ 19 h 161"/>
                <a:gd name="T14" fmla="*/ 119 w 161"/>
                <a:gd name="T15" fmla="*/ 27 h 161"/>
                <a:gd name="T16" fmla="*/ 114 w 161"/>
                <a:gd name="T17" fmla="*/ 24 h 161"/>
                <a:gd name="T18" fmla="*/ 116 w 161"/>
                <a:gd name="T19" fmla="*/ 8 h 161"/>
                <a:gd name="T20" fmla="*/ 87 w 161"/>
                <a:gd name="T21" fmla="*/ 0 h 161"/>
                <a:gd name="T22" fmla="*/ 81 w 161"/>
                <a:gd name="T23" fmla="*/ 15 h 161"/>
                <a:gd name="T24" fmla="*/ 80 w 161"/>
                <a:gd name="T25" fmla="*/ 15 h 161"/>
                <a:gd name="T26" fmla="*/ 73 w 161"/>
                <a:gd name="T27" fmla="*/ 15 h 161"/>
                <a:gd name="T28" fmla="*/ 66 w 161"/>
                <a:gd name="T29" fmla="*/ 1 h 161"/>
                <a:gd name="T30" fmla="*/ 38 w 161"/>
                <a:gd name="T31" fmla="*/ 12 h 161"/>
                <a:gd name="T32" fmla="*/ 41 w 161"/>
                <a:gd name="T33" fmla="*/ 27 h 161"/>
                <a:gd name="T34" fmla="*/ 36 w 161"/>
                <a:gd name="T35" fmla="*/ 32 h 161"/>
                <a:gd name="T36" fmla="*/ 21 w 161"/>
                <a:gd name="T37" fmla="*/ 25 h 161"/>
                <a:gd name="T38" fmla="*/ 5 w 161"/>
                <a:gd name="T39" fmla="*/ 51 h 161"/>
                <a:gd name="T40" fmla="*/ 17 w 161"/>
                <a:gd name="T41" fmla="*/ 61 h 161"/>
                <a:gd name="T42" fmla="*/ 16 w 161"/>
                <a:gd name="T43" fmla="*/ 67 h 161"/>
                <a:gd name="T44" fmla="*/ 0 w 161"/>
                <a:gd name="T45" fmla="*/ 70 h 161"/>
                <a:gd name="T46" fmla="*/ 2 w 161"/>
                <a:gd name="T47" fmla="*/ 100 h 161"/>
                <a:gd name="T48" fmla="*/ 18 w 161"/>
                <a:gd name="T49" fmla="*/ 101 h 161"/>
                <a:gd name="T50" fmla="*/ 20 w 161"/>
                <a:gd name="T51" fmla="*/ 108 h 161"/>
                <a:gd name="T52" fmla="*/ 9 w 161"/>
                <a:gd name="T53" fmla="*/ 119 h 161"/>
                <a:gd name="T54" fmla="*/ 28 w 161"/>
                <a:gd name="T55" fmla="*/ 142 h 161"/>
                <a:gd name="T56" fmla="*/ 42 w 161"/>
                <a:gd name="T57" fmla="*/ 134 h 161"/>
                <a:gd name="T58" fmla="*/ 48 w 161"/>
                <a:gd name="T59" fmla="*/ 138 h 161"/>
                <a:gd name="T60" fmla="*/ 46 w 161"/>
                <a:gd name="T61" fmla="*/ 153 h 161"/>
                <a:gd name="T62" fmla="*/ 75 w 161"/>
                <a:gd name="T63" fmla="*/ 161 h 161"/>
                <a:gd name="T64" fmla="*/ 81 w 161"/>
                <a:gd name="T65" fmla="*/ 146 h 161"/>
                <a:gd name="T66" fmla="*/ 89 w 161"/>
                <a:gd name="T67" fmla="*/ 146 h 161"/>
                <a:gd name="T68" fmla="*/ 97 w 161"/>
                <a:gd name="T69" fmla="*/ 159 h 161"/>
                <a:gd name="T70" fmla="*/ 125 w 161"/>
                <a:gd name="T71" fmla="*/ 148 h 161"/>
                <a:gd name="T72" fmla="*/ 120 w 161"/>
                <a:gd name="T73" fmla="*/ 133 h 161"/>
                <a:gd name="T74" fmla="*/ 126 w 161"/>
                <a:gd name="T75" fmla="*/ 128 h 161"/>
                <a:gd name="T76" fmla="*/ 140 w 161"/>
                <a:gd name="T77" fmla="*/ 134 h 161"/>
                <a:gd name="T78" fmla="*/ 156 w 161"/>
                <a:gd name="T79" fmla="*/ 109 h 161"/>
                <a:gd name="T80" fmla="*/ 144 w 161"/>
                <a:gd name="T81" fmla="*/ 99 h 161"/>
                <a:gd name="T82" fmla="*/ 145 w 161"/>
                <a:gd name="T83" fmla="*/ 92 h 161"/>
                <a:gd name="T84" fmla="*/ 80 w 161"/>
                <a:gd name="T85" fmla="*/ 96 h 161"/>
                <a:gd name="T86" fmla="*/ 65 w 161"/>
                <a:gd name="T87" fmla="*/ 80 h 161"/>
                <a:gd name="T88" fmla="*/ 80 w 161"/>
                <a:gd name="T89" fmla="*/ 65 h 161"/>
                <a:gd name="T90" fmla="*/ 95 w 161"/>
                <a:gd name="T91" fmla="*/ 80 h 161"/>
                <a:gd name="T92" fmla="*/ 80 w 161"/>
                <a:gd name="T93" fmla="*/ 9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1" h="161">
                  <a:moveTo>
                    <a:pt x="145" y="9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58" y="59"/>
                    <a:pt x="158" y="59"/>
                    <a:pt x="158" y="59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7"/>
                    <a:pt x="141" y="55"/>
                    <a:pt x="140" y="53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7" y="26"/>
                    <a:pt x="115" y="25"/>
                    <a:pt x="114" y="24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15"/>
                    <a:pt x="76" y="15"/>
                    <a:pt x="73" y="15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39" y="29"/>
                    <a:pt x="37" y="30"/>
                    <a:pt x="36" y="32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3"/>
                    <a:pt x="16" y="65"/>
                    <a:pt x="16" y="67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3"/>
                    <a:pt x="19" y="106"/>
                    <a:pt x="20" y="108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35"/>
                    <a:pt x="46" y="137"/>
                    <a:pt x="48" y="138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75" y="161"/>
                    <a:pt x="75" y="161"/>
                    <a:pt x="75" y="161"/>
                  </a:cubicBezTo>
                  <a:cubicBezTo>
                    <a:pt x="81" y="146"/>
                    <a:pt x="81" y="146"/>
                    <a:pt x="81" y="146"/>
                  </a:cubicBezTo>
                  <a:cubicBezTo>
                    <a:pt x="84" y="146"/>
                    <a:pt x="86" y="146"/>
                    <a:pt x="89" y="146"/>
                  </a:cubicBezTo>
                  <a:cubicBezTo>
                    <a:pt x="97" y="159"/>
                    <a:pt x="97" y="159"/>
                    <a:pt x="97" y="159"/>
                  </a:cubicBezTo>
                  <a:cubicBezTo>
                    <a:pt x="125" y="148"/>
                    <a:pt x="125" y="148"/>
                    <a:pt x="125" y="148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22" y="131"/>
                    <a:pt x="124" y="130"/>
                    <a:pt x="126" y="128"/>
                  </a:cubicBezTo>
                  <a:cubicBezTo>
                    <a:pt x="140" y="134"/>
                    <a:pt x="140" y="134"/>
                    <a:pt x="140" y="134"/>
                  </a:cubicBezTo>
                  <a:cubicBezTo>
                    <a:pt x="156" y="109"/>
                    <a:pt x="156" y="109"/>
                    <a:pt x="156" y="109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4" y="97"/>
                    <a:pt x="145" y="94"/>
                    <a:pt x="145" y="92"/>
                  </a:cubicBezTo>
                  <a:close/>
                  <a:moveTo>
                    <a:pt x="80" y="96"/>
                  </a:moveTo>
                  <a:cubicBezTo>
                    <a:pt x="72" y="96"/>
                    <a:pt x="65" y="89"/>
                    <a:pt x="65" y="80"/>
                  </a:cubicBezTo>
                  <a:cubicBezTo>
                    <a:pt x="65" y="72"/>
                    <a:pt x="72" y="65"/>
                    <a:pt x="80" y="65"/>
                  </a:cubicBezTo>
                  <a:cubicBezTo>
                    <a:pt x="89" y="65"/>
                    <a:pt x="95" y="72"/>
                    <a:pt x="95" y="80"/>
                  </a:cubicBezTo>
                  <a:cubicBezTo>
                    <a:pt x="95" y="89"/>
                    <a:pt x="89" y="96"/>
                    <a:pt x="80" y="96"/>
                  </a:cubicBezTo>
                  <a:close/>
                </a:path>
              </a:pathLst>
            </a:custGeom>
            <a:solidFill>
              <a:srgbClr val="FFDD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1" name="îṥļîḍè">
              <a:extLst>
                <a:ext uri="{FF2B5EF4-FFF2-40B4-BE49-F238E27FC236}">
                  <a16:creationId xmlns:a16="http://schemas.microsoft.com/office/drawing/2014/main" id="{EB2D829B-19D2-4867-8AC6-A9C8C9F440D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544888" y="2362201"/>
              <a:ext cx="595313" cy="573088"/>
            </a:xfrm>
            <a:prstGeom prst="ellipse">
              <a:avLst/>
            </a:prstGeom>
            <a:solidFill>
              <a:srgbClr val="FFF1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2" name="iSľíḍé">
              <a:extLst>
                <a:ext uri="{FF2B5EF4-FFF2-40B4-BE49-F238E27FC236}">
                  <a16:creationId xmlns:a16="http://schemas.microsoft.com/office/drawing/2014/main" id="{6978F5FC-6381-4B05-9D17-9F92A4E02BF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33863" y="2241551"/>
              <a:ext cx="3675063" cy="2794000"/>
            </a:xfrm>
            <a:custGeom>
              <a:avLst/>
              <a:gdLst>
                <a:gd name="T0" fmla="*/ 673 w 673"/>
                <a:gd name="T1" fmla="*/ 491 h 512"/>
                <a:gd name="T2" fmla="*/ 651 w 673"/>
                <a:gd name="T3" fmla="*/ 512 h 512"/>
                <a:gd name="T4" fmla="*/ 21 w 673"/>
                <a:gd name="T5" fmla="*/ 512 h 512"/>
                <a:gd name="T6" fmla="*/ 0 w 673"/>
                <a:gd name="T7" fmla="*/ 491 h 512"/>
                <a:gd name="T8" fmla="*/ 0 w 673"/>
                <a:gd name="T9" fmla="*/ 38 h 512"/>
                <a:gd name="T10" fmla="*/ 0 w 673"/>
                <a:gd name="T11" fmla="*/ 22 h 512"/>
                <a:gd name="T12" fmla="*/ 21 w 673"/>
                <a:gd name="T13" fmla="*/ 0 h 512"/>
                <a:gd name="T14" fmla="*/ 651 w 673"/>
                <a:gd name="T15" fmla="*/ 0 h 512"/>
                <a:gd name="T16" fmla="*/ 673 w 673"/>
                <a:gd name="T17" fmla="*/ 22 h 512"/>
                <a:gd name="T18" fmla="*/ 673 w 673"/>
                <a:gd name="T19" fmla="*/ 38 h 512"/>
                <a:gd name="T20" fmla="*/ 673 w 673"/>
                <a:gd name="T21" fmla="*/ 4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3" h="512">
                  <a:moveTo>
                    <a:pt x="673" y="491"/>
                  </a:moveTo>
                  <a:cubicBezTo>
                    <a:pt x="673" y="503"/>
                    <a:pt x="663" y="512"/>
                    <a:pt x="651" y="512"/>
                  </a:cubicBezTo>
                  <a:cubicBezTo>
                    <a:pt x="21" y="512"/>
                    <a:pt x="21" y="512"/>
                    <a:pt x="21" y="512"/>
                  </a:cubicBezTo>
                  <a:cubicBezTo>
                    <a:pt x="10" y="512"/>
                    <a:pt x="0" y="503"/>
                    <a:pt x="0" y="49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63" y="0"/>
                    <a:pt x="673" y="10"/>
                    <a:pt x="673" y="22"/>
                  </a:cubicBezTo>
                  <a:cubicBezTo>
                    <a:pt x="673" y="38"/>
                    <a:pt x="673" y="38"/>
                    <a:pt x="673" y="38"/>
                  </a:cubicBezTo>
                  <a:cubicBezTo>
                    <a:pt x="673" y="491"/>
                    <a:pt x="673" y="491"/>
                    <a:pt x="673" y="491"/>
                  </a:cubicBezTo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3" name="îsļiďê">
              <a:extLst>
                <a:ext uri="{FF2B5EF4-FFF2-40B4-BE49-F238E27FC236}">
                  <a16:creationId xmlns:a16="http://schemas.microsoft.com/office/drawing/2014/main" id="{8DC30A07-ABE0-4180-9A4E-095019C9623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33863" y="2241551"/>
              <a:ext cx="3675063" cy="207963"/>
            </a:xfrm>
            <a:custGeom>
              <a:avLst/>
              <a:gdLst>
                <a:gd name="T0" fmla="*/ 0 w 673"/>
                <a:gd name="T1" fmla="*/ 38 h 38"/>
                <a:gd name="T2" fmla="*/ 0 w 673"/>
                <a:gd name="T3" fmla="*/ 22 h 38"/>
                <a:gd name="T4" fmla="*/ 21 w 673"/>
                <a:gd name="T5" fmla="*/ 0 h 38"/>
                <a:gd name="T6" fmla="*/ 651 w 673"/>
                <a:gd name="T7" fmla="*/ 0 h 38"/>
                <a:gd name="T8" fmla="*/ 673 w 673"/>
                <a:gd name="T9" fmla="*/ 22 h 38"/>
                <a:gd name="T10" fmla="*/ 673 w 673"/>
                <a:gd name="T11" fmla="*/ 38 h 38"/>
                <a:gd name="T12" fmla="*/ 0 w 673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3" h="38">
                  <a:moveTo>
                    <a:pt x="0" y="38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63" y="0"/>
                    <a:pt x="673" y="10"/>
                    <a:pt x="673" y="22"/>
                  </a:cubicBezTo>
                  <a:cubicBezTo>
                    <a:pt x="673" y="38"/>
                    <a:pt x="673" y="38"/>
                    <a:pt x="673" y="38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iSḷïḓe">
              <a:extLst>
                <a:ext uri="{FF2B5EF4-FFF2-40B4-BE49-F238E27FC236}">
                  <a16:creationId xmlns:a16="http://schemas.microsoft.com/office/drawing/2014/main" id="{D580BBE3-37FB-4E8E-891A-8280189A21B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75150" y="2312988"/>
              <a:ext cx="71438" cy="714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ïśḷíḓê">
              <a:extLst>
                <a:ext uri="{FF2B5EF4-FFF2-40B4-BE49-F238E27FC236}">
                  <a16:creationId xmlns:a16="http://schemas.microsoft.com/office/drawing/2014/main" id="{7AEFD810-75AE-44D5-A2D6-F27F783BD7F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91038" y="2312988"/>
              <a:ext cx="69850" cy="714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6" name="íṩḻîḑé">
              <a:extLst>
                <a:ext uri="{FF2B5EF4-FFF2-40B4-BE49-F238E27FC236}">
                  <a16:creationId xmlns:a16="http://schemas.microsoft.com/office/drawing/2014/main" id="{51AE7B10-89B1-4791-AC6D-F6BC4A5923A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10100" y="2312988"/>
              <a:ext cx="66675" cy="714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7" name="íṧļíḍè">
              <a:extLst>
                <a:ext uri="{FF2B5EF4-FFF2-40B4-BE49-F238E27FC236}">
                  <a16:creationId xmlns:a16="http://schemas.microsoft.com/office/drawing/2014/main" id="{B88AEA4B-7099-4349-BECD-41EA2550377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41825" y="2570163"/>
              <a:ext cx="2605088" cy="539750"/>
            </a:xfrm>
            <a:custGeom>
              <a:avLst/>
              <a:gdLst>
                <a:gd name="T0" fmla="*/ 477 w 477"/>
                <a:gd name="T1" fmla="*/ 87 h 99"/>
                <a:gd name="T2" fmla="*/ 465 w 477"/>
                <a:gd name="T3" fmla="*/ 99 h 99"/>
                <a:gd name="T4" fmla="*/ 12 w 477"/>
                <a:gd name="T5" fmla="*/ 99 h 99"/>
                <a:gd name="T6" fmla="*/ 0 w 477"/>
                <a:gd name="T7" fmla="*/ 87 h 99"/>
                <a:gd name="T8" fmla="*/ 0 w 477"/>
                <a:gd name="T9" fmla="*/ 12 h 99"/>
                <a:gd name="T10" fmla="*/ 12 w 477"/>
                <a:gd name="T11" fmla="*/ 0 h 99"/>
                <a:gd name="T12" fmla="*/ 465 w 477"/>
                <a:gd name="T13" fmla="*/ 0 h 99"/>
                <a:gd name="T14" fmla="*/ 477 w 477"/>
                <a:gd name="T15" fmla="*/ 12 h 99"/>
                <a:gd name="T16" fmla="*/ 477 w 477"/>
                <a:gd name="T17" fmla="*/ 8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7" h="99">
                  <a:moveTo>
                    <a:pt x="477" y="87"/>
                  </a:moveTo>
                  <a:cubicBezTo>
                    <a:pt x="477" y="93"/>
                    <a:pt x="472" y="99"/>
                    <a:pt x="465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5" y="99"/>
                    <a:pt x="0" y="93"/>
                    <a:pt x="0" y="8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2" y="0"/>
                    <a:pt x="477" y="6"/>
                    <a:pt x="477" y="12"/>
                  </a:cubicBezTo>
                  <a:lnTo>
                    <a:pt x="477" y="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8" name="işḷíḑè">
              <a:extLst>
                <a:ext uri="{FF2B5EF4-FFF2-40B4-BE49-F238E27FC236}">
                  <a16:creationId xmlns:a16="http://schemas.microsoft.com/office/drawing/2014/main" id="{3A5D952E-F272-48AD-B531-F72ECF1BA30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33900" y="3284538"/>
              <a:ext cx="2435225" cy="528638"/>
            </a:xfrm>
            <a:custGeom>
              <a:avLst/>
              <a:gdLst>
                <a:gd name="T0" fmla="*/ 446 w 446"/>
                <a:gd name="T1" fmla="*/ 85 h 97"/>
                <a:gd name="T2" fmla="*/ 434 w 446"/>
                <a:gd name="T3" fmla="*/ 97 h 97"/>
                <a:gd name="T4" fmla="*/ 12 w 446"/>
                <a:gd name="T5" fmla="*/ 97 h 97"/>
                <a:gd name="T6" fmla="*/ 0 w 446"/>
                <a:gd name="T7" fmla="*/ 85 h 97"/>
                <a:gd name="T8" fmla="*/ 0 w 446"/>
                <a:gd name="T9" fmla="*/ 12 h 97"/>
                <a:gd name="T10" fmla="*/ 12 w 446"/>
                <a:gd name="T11" fmla="*/ 0 h 97"/>
                <a:gd name="T12" fmla="*/ 434 w 446"/>
                <a:gd name="T13" fmla="*/ 0 h 97"/>
                <a:gd name="T14" fmla="*/ 446 w 446"/>
                <a:gd name="T15" fmla="*/ 12 h 97"/>
                <a:gd name="T16" fmla="*/ 446 w 446"/>
                <a:gd name="T17" fmla="*/ 8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6" h="97">
                  <a:moveTo>
                    <a:pt x="446" y="85"/>
                  </a:moveTo>
                  <a:cubicBezTo>
                    <a:pt x="446" y="92"/>
                    <a:pt x="441" y="97"/>
                    <a:pt x="434" y="97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5" y="97"/>
                    <a:pt x="0" y="92"/>
                    <a:pt x="0" y="8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441" y="0"/>
                    <a:pt x="446" y="6"/>
                    <a:pt x="446" y="12"/>
                  </a:cubicBezTo>
                  <a:lnTo>
                    <a:pt x="446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9" name="îśľiďè">
              <a:extLst>
                <a:ext uri="{FF2B5EF4-FFF2-40B4-BE49-F238E27FC236}">
                  <a16:creationId xmlns:a16="http://schemas.microsoft.com/office/drawing/2014/main" id="{E3CCC0D6-F5A1-4BAE-8E60-A3B55640171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65663" y="4249738"/>
              <a:ext cx="2439988" cy="452438"/>
            </a:xfrm>
            <a:custGeom>
              <a:avLst/>
              <a:gdLst>
                <a:gd name="T0" fmla="*/ 447 w 447"/>
                <a:gd name="T1" fmla="*/ 71 h 83"/>
                <a:gd name="T2" fmla="*/ 435 w 447"/>
                <a:gd name="T3" fmla="*/ 83 h 83"/>
                <a:gd name="T4" fmla="*/ 12 w 447"/>
                <a:gd name="T5" fmla="*/ 83 h 83"/>
                <a:gd name="T6" fmla="*/ 0 w 447"/>
                <a:gd name="T7" fmla="*/ 71 h 83"/>
                <a:gd name="T8" fmla="*/ 0 w 447"/>
                <a:gd name="T9" fmla="*/ 12 h 83"/>
                <a:gd name="T10" fmla="*/ 12 w 447"/>
                <a:gd name="T11" fmla="*/ 0 h 83"/>
                <a:gd name="T12" fmla="*/ 435 w 447"/>
                <a:gd name="T13" fmla="*/ 0 h 83"/>
                <a:gd name="T14" fmla="*/ 447 w 447"/>
                <a:gd name="T15" fmla="*/ 12 h 83"/>
                <a:gd name="T16" fmla="*/ 447 w 447"/>
                <a:gd name="T17" fmla="*/ 7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7" h="83">
                  <a:moveTo>
                    <a:pt x="447" y="71"/>
                  </a:moveTo>
                  <a:cubicBezTo>
                    <a:pt x="447" y="77"/>
                    <a:pt x="441" y="83"/>
                    <a:pt x="435" y="83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6" y="83"/>
                    <a:pt x="0" y="77"/>
                    <a:pt x="0" y="7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41" y="0"/>
                    <a:pt x="447" y="6"/>
                    <a:pt x="447" y="12"/>
                  </a:cubicBezTo>
                  <a:cubicBezTo>
                    <a:pt x="447" y="71"/>
                    <a:pt x="447" y="71"/>
                    <a:pt x="447" y="7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0" name="ïṥḷîďe">
              <a:extLst>
                <a:ext uri="{FF2B5EF4-FFF2-40B4-BE49-F238E27FC236}">
                  <a16:creationId xmlns:a16="http://schemas.microsoft.com/office/drawing/2014/main" id="{D0A43D6D-849B-4867-8DDF-9759869AF39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2662238"/>
              <a:ext cx="1408113" cy="65088"/>
            </a:xfrm>
            <a:prstGeom prst="rect">
              <a:avLst/>
            </a:pr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1" name="îṧľîḓe">
              <a:extLst>
                <a:ext uri="{FF2B5EF4-FFF2-40B4-BE49-F238E27FC236}">
                  <a16:creationId xmlns:a16="http://schemas.microsoft.com/office/drawing/2014/main" id="{17F6AF21-AD0A-4476-A21E-8B492C5E7FB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2787651"/>
              <a:ext cx="1627188" cy="44450"/>
            </a:xfrm>
            <a:prstGeom prst="rect">
              <a:avLst/>
            </a:prstGeom>
            <a:solidFill>
              <a:srgbClr val="4D8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2" name="ïşľïḓe">
              <a:extLst>
                <a:ext uri="{FF2B5EF4-FFF2-40B4-BE49-F238E27FC236}">
                  <a16:creationId xmlns:a16="http://schemas.microsoft.com/office/drawing/2014/main" id="{C9DCD32F-67F5-4106-BCB4-D5B602648EB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2913063"/>
              <a:ext cx="2058988" cy="22225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3" name="íŝļíḓê">
              <a:extLst>
                <a:ext uri="{FF2B5EF4-FFF2-40B4-BE49-F238E27FC236}">
                  <a16:creationId xmlns:a16="http://schemas.microsoft.com/office/drawing/2014/main" id="{AF784C74-A9FC-4FCD-B7F9-CD803F0C87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354388"/>
              <a:ext cx="1174750" cy="66675"/>
            </a:xfrm>
            <a:prstGeom prst="rect">
              <a:avLst/>
            </a:pr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4" name="íṡḷíḓè">
              <a:extLst>
                <a:ext uri="{FF2B5EF4-FFF2-40B4-BE49-F238E27FC236}">
                  <a16:creationId xmlns:a16="http://schemas.microsoft.com/office/drawing/2014/main" id="{3BDB861B-A885-42C9-8D15-2145582B38A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486151"/>
              <a:ext cx="1398588" cy="42863"/>
            </a:xfrm>
            <a:prstGeom prst="rect">
              <a:avLst/>
            </a:prstGeom>
            <a:solidFill>
              <a:srgbClr val="4D8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5" name="íṡļîḑe">
              <a:extLst>
                <a:ext uri="{FF2B5EF4-FFF2-40B4-BE49-F238E27FC236}">
                  <a16:creationId xmlns:a16="http://schemas.microsoft.com/office/drawing/2014/main" id="{E8669892-601E-42A7-94D7-48A7F6D71B5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611563"/>
              <a:ext cx="1857375" cy="22225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6" name="ïṧḻíḓé">
              <a:extLst>
                <a:ext uri="{FF2B5EF4-FFF2-40B4-BE49-F238E27FC236}">
                  <a16:creationId xmlns:a16="http://schemas.microsoft.com/office/drawing/2014/main" id="{7DAC130D-1BA6-4C01-A85C-DD5AD71D3A5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325938"/>
              <a:ext cx="715963" cy="65088"/>
            </a:xfrm>
            <a:prstGeom prst="rect">
              <a:avLst/>
            </a:pr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7" name="iṩ1îḑé">
              <a:extLst>
                <a:ext uri="{FF2B5EF4-FFF2-40B4-BE49-F238E27FC236}">
                  <a16:creationId xmlns:a16="http://schemas.microsoft.com/office/drawing/2014/main" id="{C010107D-5A2A-4742-B8D4-EE6D67C2405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457701"/>
              <a:ext cx="1819275" cy="42863"/>
            </a:xfrm>
            <a:prstGeom prst="rect">
              <a:avLst/>
            </a:prstGeom>
            <a:solidFill>
              <a:srgbClr val="4D8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8" name="ïşļíďe">
              <a:extLst>
                <a:ext uri="{FF2B5EF4-FFF2-40B4-BE49-F238E27FC236}">
                  <a16:creationId xmlns:a16="http://schemas.microsoft.com/office/drawing/2014/main" id="{3E6F3A26-FF8C-4310-8656-73DE645ABF0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457701"/>
              <a:ext cx="1819275" cy="42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9" name="ïṣḷiḋé">
              <a:extLst>
                <a:ext uri="{FF2B5EF4-FFF2-40B4-BE49-F238E27FC236}">
                  <a16:creationId xmlns:a16="http://schemas.microsoft.com/office/drawing/2014/main" id="{3B315FA5-71F8-423D-9AF5-286EBED47D1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583113"/>
              <a:ext cx="1911350" cy="20638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0" name="íś1ïḍè">
              <a:extLst>
                <a:ext uri="{FF2B5EF4-FFF2-40B4-BE49-F238E27FC236}">
                  <a16:creationId xmlns:a16="http://schemas.microsoft.com/office/drawing/2014/main" id="{078AA2B3-DF75-49C3-8BDD-E8E9F49FD66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583113"/>
              <a:ext cx="1911350" cy="20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1" name="îślíḓê">
              <a:extLst>
                <a:ext uri="{FF2B5EF4-FFF2-40B4-BE49-F238E27FC236}">
                  <a16:creationId xmlns:a16="http://schemas.microsoft.com/office/drawing/2014/main" id="{C8FBDB9A-F376-4B16-A51C-3EB632FD7E3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703638"/>
              <a:ext cx="1781175" cy="22225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2" name="iṧḻïḋè">
              <a:extLst>
                <a:ext uri="{FF2B5EF4-FFF2-40B4-BE49-F238E27FC236}">
                  <a16:creationId xmlns:a16="http://schemas.microsoft.com/office/drawing/2014/main" id="{746F724E-4654-44EF-BA61-8968279EB97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3006726"/>
              <a:ext cx="1839913" cy="20638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3" name="îŝḷiḑê">
              <a:extLst>
                <a:ext uri="{FF2B5EF4-FFF2-40B4-BE49-F238E27FC236}">
                  <a16:creationId xmlns:a16="http://schemas.microsoft.com/office/drawing/2014/main" id="{9FEF5D28-3EDE-42E3-B583-5949AA4DF26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61175" y="4576763"/>
              <a:ext cx="900113" cy="682625"/>
            </a:xfrm>
            <a:custGeom>
              <a:avLst/>
              <a:gdLst>
                <a:gd name="T0" fmla="*/ 567 w 567"/>
                <a:gd name="T1" fmla="*/ 0 h 430"/>
                <a:gd name="T2" fmla="*/ 454 w 567"/>
                <a:gd name="T3" fmla="*/ 430 h 430"/>
                <a:gd name="T4" fmla="*/ 351 w 567"/>
                <a:gd name="T5" fmla="*/ 430 h 430"/>
                <a:gd name="T6" fmla="*/ 285 w 567"/>
                <a:gd name="T7" fmla="*/ 169 h 430"/>
                <a:gd name="T8" fmla="*/ 216 w 567"/>
                <a:gd name="T9" fmla="*/ 430 h 430"/>
                <a:gd name="T10" fmla="*/ 113 w 567"/>
                <a:gd name="T11" fmla="*/ 430 h 430"/>
                <a:gd name="T12" fmla="*/ 0 w 567"/>
                <a:gd name="T13" fmla="*/ 0 h 430"/>
                <a:gd name="T14" fmla="*/ 99 w 567"/>
                <a:gd name="T15" fmla="*/ 0 h 430"/>
                <a:gd name="T16" fmla="*/ 172 w 567"/>
                <a:gd name="T17" fmla="*/ 275 h 430"/>
                <a:gd name="T18" fmla="*/ 244 w 567"/>
                <a:gd name="T19" fmla="*/ 0 h 430"/>
                <a:gd name="T20" fmla="*/ 333 w 567"/>
                <a:gd name="T21" fmla="*/ 0 h 430"/>
                <a:gd name="T22" fmla="*/ 402 w 567"/>
                <a:gd name="T23" fmla="*/ 275 h 430"/>
                <a:gd name="T24" fmla="*/ 474 w 567"/>
                <a:gd name="T25" fmla="*/ 0 h 430"/>
                <a:gd name="T26" fmla="*/ 567 w 567"/>
                <a:gd name="T2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7" h="430">
                  <a:moveTo>
                    <a:pt x="567" y="0"/>
                  </a:moveTo>
                  <a:lnTo>
                    <a:pt x="454" y="430"/>
                  </a:lnTo>
                  <a:lnTo>
                    <a:pt x="351" y="430"/>
                  </a:lnTo>
                  <a:lnTo>
                    <a:pt x="285" y="169"/>
                  </a:lnTo>
                  <a:lnTo>
                    <a:pt x="216" y="430"/>
                  </a:lnTo>
                  <a:lnTo>
                    <a:pt x="113" y="430"/>
                  </a:lnTo>
                  <a:lnTo>
                    <a:pt x="0" y="0"/>
                  </a:lnTo>
                  <a:lnTo>
                    <a:pt x="99" y="0"/>
                  </a:lnTo>
                  <a:lnTo>
                    <a:pt x="172" y="275"/>
                  </a:lnTo>
                  <a:lnTo>
                    <a:pt x="244" y="0"/>
                  </a:lnTo>
                  <a:lnTo>
                    <a:pt x="333" y="0"/>
                  </a:lnTo>
                  <a:lnTo>
                    <a:pt x="402" y="275"/>
                  </a:lnTo>
                  <a:lnTo>
                    <a:pt x="474" y="0"/>
                  </a:lnTo>
                  <a:lnTo>
                    <a:pt x="567" y="0"/>
                  </a:lnTo>
                  <a:close/>
                </a:path>
              </a:pathLst>
            </a:cu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4" name="ïšľíḓe">
              <a:extLst>
                <a:ext uri="{FF2B5EF4-FFF2-40B4-BE49-F238E27FC236}">
                  <a16:creationId xmlns:a16="http://schemas.microsoft.com/office/drawing/2014/main" id="{F5D20722-A872-4B0F-9A2E-F5060344CFB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24325" y="3470276"/>
              <a:ext cx="579438" cy="855663"/>
            </a:xfrm>
            <a:custGeom>
              <a:avLst/>
              <a:gdLst>
                <a:gd name="T0" fmla="*/ 365 w 365"/>
                <a:gd name="T1" fmla="*/ 0 h 539"/>
                <a:gd name="T2" fmla="*/ 110 w 365"/>
                <a:gd name="T3" fmla="*/ 206 h 539"/>
                <a:gd name="T4" fmla="*/ 176 w 365"/>
                <a:gd name="T5" fmla="*/ 247 h 539"/>
                <a:gd name="T6" fmla="*/ 0 w 365"/>
                <a:gd name="T7" fmla="*/ 488 h 539"/>
                <a:gd name="T8" fmla="*/ 76 w 365"/>
                <a:gd name="T9" fmla="*/ 539 h 539"/>
                <a:gd name="T10" fmla="*/ 237 w 365"/>
                <a:gd name="T11" fmla="*/ 285 h 539"/>
                <a:gd name="T12" fmla="*/ 330 w 365"/>
                <a:gd name="T13" fmla="*/ 333 h 539"/>
                <a:gd name="T14" fmla="*/ 365 w 365"/>
                <a:gd name="T15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539">
                  <a:moveTo>
                    <a:pt x="365" y="0"/>
                  </a:moveTo>
                  <a:lnTo>
                    <a:pt x="110" y="206"/>
                  </a:lnTo>
                  <a:lnTo>
                    <a:pt x="176" y="247"/>
                  </a:lnTo>
                  <a:lnTo>
                    <a:pt x="0" y="488"/>
                  </a:lnTo>
                  <a:lnTo>
                    <a:pt x="76" y="539"/>
                  </a:lnTo>
                  <a:lnTo>
                    <a:pt x="237" y="285"/>
                  </a:lnTo>
                  <a:lnTo>
                    <a:pt x="330" y="333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5" name="íşļíḋè">
              <a:extLst>
                <a:ext uri="{FF2B5EF4-FFF2-40B4-BE49-F238E27FC236}">
                  <a16:creationId xmlns:a16="http://schemas.microsoft.com/office/drawing/2014/main" id="{A4A79B8E-0F5A-4592-981D-61CD3CE1F1A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30675" y="4708526"/>
              <a:ext cx="479425" cy="479425"/>
            </a:xfrm>
            <a:custGeom>
              <a:avLst/>
              <a:gdLst>
                <a:gd name="T0" fmla="*/ 79 w 88"/>
                <a:gd name="T1" fmla="*/ 50 h 88"/>
                <a:gd name="T2" fmla="*/ 88 w 88"/>
                <a:gd name="T3" fmla="*/ 49 h 88"/>
                <a:gd name="T4" fmla="*/ 86 w 88"/>
                <a:gd name="T5" fmla="*/ 32 h 88"/>
                <a:gd name="T6" fmla="*/ 78 w 88"/>
                <a:gd name="T7" fmla="*/ 32 h 88"/>
                <a:gd name="T8" fmla="*/ 77 w 88"/>
                <a:gd name="T9" fmla="*/ 29 h 88"/>
                <a:gd name="T10" fmla="*/ 82 w 88"/>
                <a:gd name="T11" fmla="*/ 23 h 88"/>
                <a:gd name="T12" fmla="*/ 72 w 88"/>
                <a:gd name="T13" fmla="*/ 10 h 88"/>
                <a:gd name="T14" fmla="*/ 65 w 88"/>
                <a:gd name="T15" fmla="*/ 15 h 88"/>
                <a:gd name="T16" fmla="*/ 62 w 88"/>
                <a:gd name="T17" fmla="*/ 13 h 88"/>
                <a:gd name="T18" fmla="*/ 63 w 88"/>
                <a:gd name="T19" fmla="*/ 4 h 88"/>
                <a:gd name="T20" fmla="*/ 47 w 88"/>
                <a:gd name="T21" fmla="*/ 0 h 88"/>
                <a:gd name="T22" fmla="*/ 44 w 88"/>
                <a:gd name="T23" fmla="*/ 8 h 88"/>
                <a:gd name="T24" fmla="*/ 44 w 88"/>
                <a:gd name="T25" fmla="*/ 8 h 88"/>
                <a:gd name="T26" fmla="*/ 40 w 88"/>
                <a:gd name="T27" fmla="*/ 8 h 88"/>
                <a:gd name="T28" fmla="*/ 36 w 88"/>
                <a:gd name="T29" fmla="*/ 0 h 88"/>
                <a:gd name="T30" fmla="*/ 20 w 88"/>
                <a:gd name="T31" fmla="*/ 6 h 88"/>
                <a:gd name="T32" fmla="*/ 22 w 88"/>
                <a:gd name="T33" fmla="*/ 15 h 88"/>
                <a:gd name="T34" fmla="*/ 19 w 88"/>
                <a:gd name="T35" fmla="*/ 17 h 88"/>
                <a:gd name="T36" fmla="*/ 11 w 88"/>
                <a:gd name="T37" fmla="*/ 14 h 88"/>
                <a:gd name="T38" fmla="*/ 2 w 88"/>
                <a:gd name="T39" fmla="*/ 28 h 88"/>
                <a:gd name="T40" fmla="*/ 9 w 88"/>
                <a:gd name="T41" fmla="*/ 33 h 88"/>
                <a:gd name="T42" fmla="*/ 8 w 88"/>
                <a:gd name="T43" fmla="*/ 37 h 88"/>
                <a:gd name="T44" fmla="*/ 0 w 88"/>
                <a:gd name="T45" fmla="*/ 38 h 88"/>
                <a:gd name="T46" fmla="*/ 1 w 88"/>
                <a:gd name="T47" fmla="*/ 55 h 88"/>
                <a:gd name="T48" fmla="*/ 9 w 88"/>
                <a:gd name="T49" fmla="*/ 55 h 88"/>
                <a:gd name="T50" fmla="*/ 11 w 88"/>
                <a:gd name="T51" fmla="*/ 59 h 88"/>
                <a:gd name="T52" fmla="*/ 5 w 88"/>
                <a:gd name="T53" fmla="*/ 65 h 88"/>
                <a:gd name="T54" fmla="*/ 15 w 88"/>
                <a:gd name="T55" fmla="*/ 78 h 88"/>
                <a:gd name="T56" fmla="*/ 23 w 88"/>
                <a:gd name="T57" fmla="*/ 73 h 88"/>
                <a:gd name="T58" fmla="*/ 26 w 88"/>
                <a:gd name="T59" fmla="*/ 75 h 88"/>
                <a:gd name="T60" fmla="*/ 25 w 88"/>
                <a:gd name="T61" fmla="*/ 84 h 88"/>
                <a:gd name="T62" fmla="*/ 41 w 88"/>
                <a:gd name="T63" fmla="*/ 88 h 88"/>
                <a:gd name="T64" fmla="*/ 44 w 88"/>
                <a:gd name="T65" fmla="*/ 80 h 88"/>
                <a:gd name="T66" fmla="*/ 48 w 88"/>
                <a:gd name="T67" fmla="*/ 80 h 88"/>
                <a:gd name="T68" fmla="*/ 53 w 88"/>
                <a:gd name="T69" fmla="*/ 87 h 88"/>
                <a:gd name="T70" fmla="*/ 68 w 88"/>
                <a:gd name="T71" fmla="*/ 81 h 88"/>
                <a:gd name="T72" fmla="*/ 66 w 88"/>
                <a:gd name="T73" fmla="*/ 72 h 88"/>
                <a:gd name="T74" fmla="*/ 69 w 88"/>
                <a:gd name="T75" fmla="*/ 70 h 88"/>
                <a:gd name="T76" fmla="*/ 77 w 88"/>
                <a:gd name="T77" fmla="*/ 73 h 88"/>
                <a:gd name="T78" fmla="*/ 85 w 88"/>
                <a:gd name="T79" fmla="*/ 59 h 88"/>
                <a:gd name="T80" fmla="*/ 78 w 88"/>
                <a:gd name="T81" fmla="*/ 54 h 88"/>
                <a:gd name="T82" fmla="*/ 79 w 88"/>
                <a:gd name="T83" fmla="*/ 50 h 88"/>
                <a:gd name="T84" fmla="*/ 44 w 88"/>
                <a:gd name="T85" fmla="*/ 52 h 88"/>
                <a:gd name="T86" fmla="*/ 35 w 88"/>
                <a:gd name="T87" fmla="*/ 44 h 88"/>
                <a:gd name="T88" fmla="*/ 44 w 88"/>
                <a:gd name="T89" fmla="*/ 36 h 88"/>
                <a:gd name="T90" fmla="*/ 52 w 88"/>
                <a:gd name="T91" fmla="*/ 44 h 88"/>
                <a:gd name="T92" fmla="*/ 44 w 88"/>
                <a:gd name="T93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8" h="88">
                  <a:moveTo>
                    <a:pt x="79" y="50"/>
                  </a:moveTo>
                  <a:cubicBezTo>
                    <a:pt x="88" y="49"/>
                    <a:pt x="88" y="49"/>
                    <a:pt x="88" y="49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7" y="31"/>
                    <a:pt x="77" y="30"/>
                    <a:pt x="77" y="29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4" y="14"/>
                    <a:pt x="63" y="13"/>
                    <a:pt x="62" y="13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2" y="8"/>
                    <a:pt x="41" y="8"/>
                    <a:pt x="40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6"/>
                    <a:pt x="20" y="16"/>
                    <a:pt x="19" y="17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8" y="35"/>
                    <a:pt x="8" y="3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10" y="57"/>
                    <a:pt x="10" y="58"/>
                    <a:pt x="11" y="59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4" y="74"/>
                    <a:pt x="25" y="75"/>
                    <a:pt x="26" y="75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5" y="80"/>
                    <a:pt x="47" y="80"/>
                    <a:pt x="48" y="80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7" y="72"/>
                    <a:pt x="68" y="71"/>
                    <a:pt x="69" y="70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9" y="53"/>
                    <a:pt x="79" y="52"/>
                    <a:pt x="79" y="50"/>
                  </a:cubicBezTo>
                  <a:close/>
                  <a:moveTo>
                    <a:pt x="44" y="52"/>
                  </a:moveTo>
                  <a:cubicBezTo>
                    <a:pt x="39" y="52"/>
                    <a:pt x="35" y="48"/>
                    <a:pt x="35" y="44"/>
                  </a:cubicBezTo>
                  <a:cubicBezTo>
                    <a:pt x="35" y="39"/>
                    <a:pt x="39" y="36"/>
                    <a:pt x="44" y="36"/>
                  </a:cubicBezTo>
                  <a:cubicBezTo>
                    <a:pt x="48" y="36"/>
                    <a:pt x="52" y="39"/>
                    <a:pt x="52" y="44"/>
                  </a:cubicBezTo>
                  <a:cubicBezTo>
                    <a:pt x="52" y="48"/>
                    <a:pt x="48" y="52"/>
                    <a:pt x="44" y="52"/>
                  </a:cubicBezTo>
                  <a:close/>
                </a:path>
              </a:pathLst>
            </a:custGeom>
            <a:solidFill>
              <a:srgbClr val="EFC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6" name="îs1îdè">
              <a:extLst>
                <a:ext uri="{FF2B5EF4-FFF2-40B4-BE49-F238E27FC236}">
                  <a16:creationId xmlns:a16="http://schemas.microsoft.com/office/drawing/2014/main" id="{F54F2F56-C5C2-4FD4-A67A-B68C1B14F95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730625" y="3786188"/>
              <a:ext cx="1201738" cy="665163"/>
            </a:xfrm>
            <a:custGeom>
              <a:avLst/>
              <a:gdLst>
                <a:gd name="T0" fmla="*/ 113 w 220"/>
                <a:gd name="T1" fmla="*/ 114 h 122"/>
                <a:gd name="T2" fmla="*/ 21 w 220"/>
                <a:gd name="T3" fmla="*/ 91 h 122"/>
                <a:gd name="T4" fmla="*/ 1 w 220"/>
                <a:gd name="T5" fmla="*/ 52 h 122"/>
                <a:gd name="T6" fmla="*/ 17 w 220"/>
                <a:gd name="T7" fmla="*/ 21 h 122"/>
                <a:gd name="T8" fmla="*/ 92 w 220"/>
                <a:gd name="T9" fmla="*/ 8 h 122"/>
                <a:gd name="T10" fmla="*/ 92 w 220"/>
                <a:gd name="T11" fmla="*/ 12 h 122"/>
                <a:gd name="T12" fmla="*/ 19 w 220"/>
                <a:gd name="T13" fmla="*/ 24 h 122"/>
                <a:gd name="T14" fmla="*/ 5 w 220"/>
                <a:gd name="T15" fmla="*/ 53 h 122"/>
                <a:gd name="T16" fmla="*/ 23 w 220"/>
                <a:gd name="T17" fmla="*/ 88 h 122"/>
                <a:gd name="T18" fmla="*/ 219 w 220"/>
                <a:gd name="T19" fmla="*/ 92 h 122"/>
                <a:gd name="T20" fmla="*/ 220 w 220"/>
                <a:gd name="T21" fmla="*/ 96 h 122"/>
                <a:gd name="T22" fmla="*/ 113 w 220"/>
                <a:gd name="T23" fmla="*/ 11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0" h="122">
                  <a:moveTo>
                    <a:pt x="113" y="114"/>
                  </a:moveTo>
                  <a:cubicBezTo>
                    <a:pt x="75" y="114"/>
                    <a:pt x="42" y="106"/>
                    <a:pt x="21" y="91"/>
                  </a:cubicBezTo>
                  <a:cubicBezTo>
                    <a:pt x="7" y="80"/>
                    <a:pt x="0" y="67"/>
                    <a:pt x="1" y="52"/>
                  </a:cubicBezTo>
                  <a:cubicBezTo>
                    <a:pt x="2" y="39"/>
                    <a:pt x="7" y="28"/>
                    <a:pt x="17" y="21"/>
                  </a:cubicBezTo>
                  <a:cubicBezTo>
                    <a:pt x="43" y="0"/>
                    <a:pt x="90" y="7"/>
                    <a:pt x="92" y="8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91" y="12"/>
                    <a:pt x="44" y="4"/>
                    <a:pt x="19" y="24"/>
                  </a:cubicBezTo>
                  <a:cubicBezTo>
                    <a:pt x="11" y="31"/>
                    <a:pt x="6" y="40"/>
                    <a:pt x="5" y="53"/>
                  </a:cubicBezTo>
                  <a:cubicBezTo>
                    <a:pt x="4" y="66"/>
                    <a:pt x="11" y="78"/>
                    <a:pt x="23" y="88"/>
                  </a:cubicBezTo>
                  <a:cubicBezTo>
                    <a:pt x="56" y="112"/>
                    <a:pt x="134" y="122"/>
                    <a:pt x="219" y="92"/>
                  </a:cubicBezTo>
                  <a:cubicBezTo>
                    <a:pt x="220" y="96"/>
                    <a:pt x="220" y="96"/>
                    <a:pt x="220" y="96"/>
                  </a:cubicBezTo>
                  <a:cubicBezTo>
                    <a:pt x="184" y="108"/>
                    <a:pt x="147" y="114"/>
                    <a:pt x="113" y="114"/>
                  </a:cubicBezTo>
                  <a:close/>
                </a:path>
              </a:pathLst>
            </a:cu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7" name="íṡ1îde">
              <a:extLst>
                <a:ext uri="{FF2B5EF4-FFF2-40B4-BE49-F238E27FC236}">
                  <a16:creationId xmlns:a16="http://schemas.microsoft.com/office/drawing/2014/main" id="{9C5B0964-740D-446A-B893-E0FE0D3C738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84725" y="4271963"/>
              <a:ext cx="203200" cy="130175"/>
            </a:xfrm>
            <a:custGeom>
              <a:avLst/>
              <a:gdLst>
                <a:gd name="T0" fmla="*/ 28 w 128"/>
                <a:gd name="T1" fmla="*/ 82 h 82"/>
                <a:gd name="T2" fmla="*/ 21 w 128"/>
                <a:gd name="T3" fmla="*/ 72 h 82"/>
                <a:gd name="T4" fmla="*/ 90 w 128"/>
                <a:gd name="T5" fmla="*/ 17 h 82"/>
                <a:gd name="T6" fmla="*/ 0 w 128"/>
                <a:gd name="T7" fmla="*/ 14 h 82"/>
                <a:gd name="T8" fmla="*/ 0 w 128"/>
                <a:gd name="T9" fmla="*/ 0 h 82"/>
                <a:gd name="T10" fmla="*/ 128 w 128"/>
                <a:gd name="T11" fmla="*/ 3 h 82"/>
                <a:gd name="T12" fmla="*/ 28 w 128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82">
                  <a:moveTo>
                    <a:pt x="28" y="82"/>
                  </a:moveTo>
                  <a:lnTo>
                    <a:pt x="21" y="72"/>
                  </a:lnTo>
                  <a:lnTo>
                    <a:pt x="90" y="17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28" y="3"/>
                  </a:lnTo>
                  <a:lnTo>
                    <a:pt x="28" y="82"/>
                  </a:lnTo>
                  <a:close/>
                </a:path>
              </a:pathLst>
            </a:cu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8" name="išlíḍé">
              <a:extLst>
                <a:ext uri="{FF2B5EF4-FFF2-40B4-BE49-F238E27FC236}">
                  <a16:creationId xmlns:a16="http://schemas.microsoft.com/office/drawing/2014/main" id="{8D9CC038-242E-475A-A932-E383C31719B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69125" y="3421063"/>
              <a:ext cx="1082675" cy="1308100"/>
            </a:xfrm>
            <a:custGeom>
              <a:avLst/>
              <a:gdLst>
                <a:gd name="T0" fmla="*/ 63 w 198"/>
                <a:gd name="T1" fmla="*/ 240 h 240"/>
                <a:gd name="T2" fmla="*/ 70 w 198"/>
                <a:gd name="T3" fmla="*/ 236 h 240"/>
                <a:gd name="T4" fmla="*/ 82 w 198"/>
                <a:gd name="T5" fmla="*/ 240 h 240"/>
                <a:gd name="T6" fmla="*/ 94 w 198"/>
                <a:gd name="T7" fmla="*/ 235 h 240"/>
                <a:gd name="T8" fmla="*/ 82 w 198"/>
                <a:gd name="T9" fmla="*/ 240 h 240"/>
                <a:gd name="T10" fmla="*/ 106 w 198"/>
                <a:gd name="T11" fmla="*/ 233 h 240"/>
                <a:gd name="T12" fmla="*/ 118 w 198"/>
                <a:gd name="T13" fmla="*/ 233 h 240"/>
                <a:gd name="T14" fmla="*/ 130 w 198"/>
                <a:gd name="T15" fmla="*/ 230 h 240"/>
                <a:gd name="T16" fmla="*/ 139 w 198"/>
                <a:gd name="T17" fmla="*/ 221 h 240"/>
                <a:gd name="T18" fmla="*/ 130 w 198"/>
                <a:gd name="T19" fmla="*/ 230 h 240"/>
                <a:gd name="T20" fmla="*/ 149 w 198"/>
                <a:gd name="T21" fmla="*/ 215 h 240"/>
                <a:gd name="T22" fmla="*/ 161 w 198"/>
                <a:gd name="T23" fmla="*/ 211 h 240"/>
                <a:gd name="T24" fmla="*/ 170 w 198"/>
                <a:gd name="T25" fmla="*/ 202 h 240"/>
                <a:gd name="T26" fmla="*/ 174 w 198"/>
                <a:gd name="T27" fmla="*/ 191 h 240"/>
                <a:gd name="T28" fmla="*/ 170 w 198"/>
                <a:gd name="T29" fmla="*/ 202 h 240"/>
                <a:gd name="T30" fmla="*/ 180 w 198"/>
                <a:gd name="T31" fmla="*/ 181 h 240"/>
                <a:gd name="T32" fmla="*/ 189 w 198"/>
                <a:gd name="T33" fmla="*/ 171 h 240"/>
                <a:gd name="T34" fmla="*/ 193 w 198"/>
                <a:gd name="T35" fmla="*/ 160 h 240"/>
                <a:gd name="T36" fmla="*/ 192 w 198"/>
                <a:gd name="T37" fmla="*/ 147 h 240"/>
                <a:gd name="T38" fmla="*/ 193 w 198"/>
                <a:gd name="T39" fmla="*/ 160 h 240"/>
                <a:gd name="T40" fmla="*/ 194 w 198"/>
                <a:gd name="T41" fmla="*/ 136 h 240"/>
                <a:gd name="T42" fmla="*/ 198 w 198"/>
                <a:gd name="T43" fmla="*/ 124 h 240"/>
                <a:gd name="T44" fmla="*/ 194 w 198"/>
                <a:gd name="T45" fmla="*/ 112 h 240"/>
                <a:gd name="T46" fmla="*/ 197 w 198"/>
                <a:gd name="T47" fmla="*/ 100 h 240"/>
                <a:gd name="T48" fmla="*/ 194 w 198"/>
                <a:gd name="T49" fmla="*/ 112 h 240"/>
                <a:gd name="T50" fmla="*/ 187 w 198"/>
                <a:gd name="T51" fmla="*/ 78 h 240"/>
                <a:gd name="T52" fmla="*/ 195 w 198"/>
                <a:gd name="T53" fmla="*/ 88 h 240"/>
                <a:gd name="T54" fmla="*/ 182 w 198"/>
                <a:gd name="T55" fmla="*/ 67 h 240"/>
                <a:gd name="T56" fmla="*/ 179 w 198"/>
                <a:gd name="T57" fmla="*/ 55 h 240"/>
                <a:gd name="T58" fmla="*/ 182 w 198"/>
                <a:gd name="T59" fmla="*/ 67 h 240"/>
                <a:gd name="T60" fmla="*/ 160 w 198"/>
                <a:gd name="T61" fmla="*/ 40 h 240"/>
                <a:gd name="T62" fmla="*/ 171 w 198"/>
                <a:gd name="T63" fmla="*/ 45 h 240"/>
                <a:gd name="T64" fmla="*/ 150 w 198"/>
                <a:gd name="T65" fmla="*/ 33 h 240"/>
                <a:gd name="T66" fmla="*/ 142 w 198"/>
                <a:gd name="T67" fmla="*/ 24 h 240"/>
                <a:gd name="T68" fmla="*/ 150 w 198"/>
                <a:gd name="T69" fmla="*/ 33 h 240"/>
                <a:gd name="T70" fmla="*/ 118 w 198"/>
                <a:gd name="T71" fmla="*/ 18 h 240"/>
                <a:gd name="T72" fmla="*/ 131 w 198"/>
                <a:gd name="T73" fmla="*/ 19 h 240"/>
                <a:gd name="T74" fmla="*/ 107 w 198"/>
                <a:gd name="T75" fmla="*/ 14 h 240"/>
                <a:gd name="T76" fmla="*/ 96 w 198"/>
                <a:gd name="T77" fmla="*/ 7 h 240"/>
                <a:gd name="T78" fmla="*/ 107 w 198"/>
                <a:gd name="T79" fmla="*/ 14 h 240"/>
                <a:gd name="T80" fmla="*/ 72 w 198"/>
                <a:gd name="T81" fmla="*/ 7 h 240"/>
                <a:gd name="T82" fmla="*/ 85 w 198"/>
                <a:gd name="T83" fmla="*/ 5 h 240"/>
                <a:gd name="T84" fmla="*/ 60 w 198"/>
                <a:gd name="T85" fmla="*/ 5 h 240"/>
                <a:gd name="T86" fmla="*/ 49 w 198"/>
                <a:gd name="T87" fmla="*/ 1 h 240"/>
                <a:gd name="T88" fmla="*/ 60 w 198"/>
                <a:gd name="T89" fmla="*/ 5 h 240"/>
                <a:gd name="T90" fmla="*/ 0 w 198"/>
                <a:gd name="T91" fmla="*/ 1 h 240"/>
                <a:gd name="T92" fmla="*/ 12 w 198"/>
                <a:gd name="T93" fmla="*/ 4 h 240"/>
                <a:gd name="T94" fmla="*/ 36 w 198"/>
                <a:gd name="T95" fmla="*/ 4 h 240"/>
                <a:gd name="T96" fmla="*/ 24 w 198"/>
                <a:gd name="T97" fmla="*/ 4 h 240"/>
                <a:gd name="T98" fmla="*/ 25 w 198"/>
                <a:gd name="T99" fmla="*/ 0 h 240"/>
                <a:gd name="T100" fmla="*/ 36 w 198"/>
                <a:gd name="T101" fmla="*/ 4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240">
                  <a:moveTo>
                    <a:pt x="70" y="240"/>
                  </a:moveTo>
                  <a:cubicBezTo>
                    <a:pt x="67" y="240"/>
                    <a:pt x="65" y="240"/>
                    <a:pt x="63" y="240"/>
                  </a:cubicBezTo>
                  <a:cubicBezTo>
                    <a:pt x="63" y="236"/>
                    <a:pt x="63" y="236"/>
                    <a:pt x="63" y="236"/>
                  </a:cubicBezTo>
                  <a:cubicBezTo>
                    <a:pt x="65" y="236"/>
                    <a:pt x="68" y="236"/>
                    <a:pt x="70" y="236"/>
                  </a:cubicBezTo>
                  <a:cubicBezTo>
                    <a:pt x="70" y="240"/>
                    <a:pt x="70" y="240"/>
                    <a:pt x="70" y="240"/>
                  </a:cubicBezTo>
                  <a:close/>
                  <a:moveTo>
                    <a:pt x="82" y="240"/>
                  </a:moveTo>
                  <a:cubicBezTo>
                    <a:pt x="82" y="236"/>
                    <a:pt x="82" y="236"/>
                    <a:pt x="82" y="236"/>
                  </a:cubicBezTo>
                  <a:cubicBezTo>
                    <a:pt x="86" y="235"/>
                    <a:pt x="90" y="235"/>
                    <a:pt x="94" y="235"/>
                  </a:cubicBezTo>
                  <a:cubicBezTo>
                    <a:pt x="94" y="239"/>
                    <a:pt x="94" y="239"/>
                    <a:pt x="94" y="239"/>
                  </a:cubicBezTo>
                  <a:cubicBezTo>
                    <a:pt x="91" y="239"/>
                    <a:pt x="86" y="239"/>
                    <a:pt x="82" y="240"/>
                  </a:cubicBezTo>
                  <a:close/>
                  <a:moveTo>
                    <a:pt x="106" y="236"/>
                  </a:moveTo>
                  <a:cubicBezTo>
                    <a:pt x="106" y="233"/>
                    <a:pt x="106" y="233"/>
                    <a:pt x="106" y="233"/>
                  </a:cubicBezTo>
                  <a:cubicBezTo>
                    <a:pt x="110" y="232"/>
                    <a:pt x="113" y="231"/>
                    <a:pt x="117" y="230"/>
                  </a:cubicBezTo>
                  <a:cubicBezTo>
                    <a:pt x="118" y="233"/>
                    <a:pt x="118" y="233"/>
                    <a:pt x="118" y="233"/>
                  </a:cubicBezTo>
                  <a:cubicBezTo>
                    <a:pt x="114" y="235"/>
                    <a:pt x="110" y="236"/>
                    <a:pt x="106" y="236"/>
                  </a:cubicBezTo>
                  <a:close/>
                  <a:moveTo>
                    <a:pt x="130" y="230"/>
                  </a:moveTo>
                  <a:cubicBezTo>
                    <a:pt x="128" y="226"/>
                    <a:pt x="128" y="226"/>
                    <a:pt x="128" y="226"/>
                  </a:cubicBezTo>
                  <a:cubicBezTo>
                    <a:pt x="132" y="224"/>
                    <a:pt x="136" y="223"/>
                    <a:pt x="139" y="221"/>
                  </a:cubicBezTo>
                  <a:cubicBezTo>
                    <a:pt x="141" y="225"/>
                    <a:pt x="141" y="225"/>
                    <a:pt x="141" y="225"/>
                  </a:cubicBezTo>
                  <a:cubicBezTo>
                    <a:pt x="137" y="226"/>
                    <a:pt x="134" y="228"/>
                    <a:pt x="130" y="230"/>
                  </a:cubicBezTo>
                  <a:close/>
                  <a:moveTo>
                    <a:pt x="151" y="218"/>
                  </a:moveTo>
                  <a:cubicBezTo>
                    <a:pt x="149" y="215"/>
                    <a:pt x="149" y="215"/>
                    <a:pt x="149" y="215"/>
                  </a:cubicBezTo>
                  <a:cubicBezTo>
                    <a:pt x="152" y="213"/>
                    <a:pt x="156" y="210"/>
                    <a:pt x="159" y="208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58" y="214"/>
                    <a:pt x="155" y="216"/>
                    <a:pt x="151" y="218"/>
                  </a:cubicBezTo>
                  <a:close/>
                  <a:moveTo>
                    <a:pt x="170" y="202"/>
                  </a:moveTo>
                  <a:cubicBezTo>
                    <a:pt x="167" y="200"/>
                    <a:pt x="167" y="200"/>
                    <a:pt x="167" y="200"/>
                  </a:cubicBezTo>
                  <a:cubicBezTo>
                    <a:pt x="170" y="197"/>
                    <a:pt x="172" y="194"/>
                    <a:pt x="174" y="19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5" y="196"/>
                    <a:pt x="173" y="199"/>
                    <a:pt x="170" y="202"/>
                  </a:cubicBezTo>
                  <a:close/>
                  <a:moveTo>
                    <a:pt x="184" y="182"/>
                  </a:moveTo>
                  <a:cubicBezTo>
                    <a:pt x="180" y="181"/>
                    <a:pt x="180" y="181"/>
                    <a:pt x="180" y="181"/>
                  </a:cubicBezTo>
                  <a:cubicBezTo>
                    <a:pt x="182" y="177"/>
                    <a:pt x="184" y="174"/>
                    <a:pt x="185" y="170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88" y="175"/>
                    <a:pt x="186" y="179"/>
                    <a:pt x="184" y="182"/>
                  </a:cubicBezTo>
                  <a:close/>
                  <a:moveTo>
                    <a:pt x="193" y="160"/>
                  </a:moveTo>
                  <a:cubicBezTo>
                    <a:pt x="189" y="159"/>
                    <a:pt x="189" y="159"/>
                    <a:pt x="189" y="159"/>
                  </a:cubicBezTo>
                  <a:cubicBezTo>
                    <a:pt x="190" y="155"/>
                    <a:pt x="191" y="151"/>
                    <a:pt x="192" y="147"/>
                  </a:cubicBezTo>
                  <a:cubicBezTo>
                    <a:pt x="196" y="148"/>
                    <a:pt x="196" y="148"/>
                    <a:pt x="196" y="148"/>
                  </a:cubicBezTo>
                  <a:cubicBezTo>
                    <a:pt x="195" y="152"/>
                    <a:pt x="194" y="156"/>
                    <a:pt x="193" y="160"/>
                  </a:cubicBezTo>
                  <a:close/>
                  <a:moveTo>
                    <a:pt x="197" y="136"/>
                  </a:moveTo>
                  <a:cubicBezTo>
                    <a:pt x="194" y="136"/>
                    <a:pt x="194" y="136"/>
                    <a:pt x="194" y="136"/>
                  </a:cubicBezTo>
                  <a:cubicBezTo>
                    <a:pt x="194" y="132"/>
                    <a:pt x="194" y="128"/>
                    <a:pt x="194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8"/>
                    <a:pt x="198" y="132"/>
                    <a:pt x="197" y="136"/>
                  </a:cubicBezTo>
                  <a:close/>
                  <a:moveTo>
                    <a:pt x="194" y="112"/>
                  </a:moveTo>
                  <a:cubicBezTo>
                    <a:pt x="194" y="108"/>
                    <a:pt x="194" y="104"/>
                    <a:pt x="193" y="100"/>
                  </a:cubicBezTo>
                  <a:cubicBezTo>
                    <a:pt x="197" y="100"/>
                    <a:pt x="197" y="100"/>
                    <a:pt x="197" y="100"/>
                  </a:cubicBezTo>
                  <a:cubicBezTo>
                    <a:pt x="198" y="104"/>
                    <a:pt x="198" y="108"/>
                    <a:pt x="198" y="112"/>
                  </a:cubicBezTo>
                  <a:lnTo>
                    <a:pt x="194" y="112"/>
                  </a:lnTo>
                  <a:close/>
                  <a:moveTo>
                    <a:pt x="191" y="89"/>
                  </a:moveTo>
                  <a:cubicBezTo>
                    <a:pt x="190" y="85"/>
                    <a:pt x="189" y="81"/>
                    <a:pt x="187" y="78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3" y="80"/>
                    <a:pt x="194" y="84"/>
                    <a:pt x="195" y="88"/>
                  </a:cubicBezTo>
                  <a:lnTo>
                    <a:pt x="191" y="89"/>
                  </a:lnTo>
                  <a:close/>
                  <a:moveTo>
                    <a:pt x="182" y="67"/>
                  </a:moveTo>
                  <a:cubicBezTo>
                    <a:pt x="180" y="64"/>
                    <a:pt x="178" y="60"/>
                    <a:pt x="176" y="57"/>
                  </a:cubicBezTo>
                  <a:cubicBezTo>
                    <a:pt x="179" y="55"/>
                    <a:pt x="179" y="55"/>
                    <a:pt x="179" y="55"/>
                  </a:cubicBezTo>
                  <a:cubicBezTo>
                    <a:pt x="182" y="58"/>
                    <a:pt x="184" y="62"/>
                    <a:pt x="186" y="65"/>
                  </a:cubicBezTo>
                  <a:lnTo>
                    <a:pt x="182" y="67"/>
                  </a:lnTo>
                  <a:close/>
                  <a:moveTo>
                    <a:pt x="168" y="48"/>
                  </a:moveTo>
                  <a:cubicBezTo>
                    <a:pt x="166" y="46"/>
                    <a:pt x="163" y="43"/>
                    <a:pt x="160" y="40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5" y="40"/>
                    <a:pt x="169" y="43"/>
                    <a:pt x="171" y="45"/>
                  </a:cubicBezTo>
                  <a:lnTo>
                    <a:pt x="168" y="48"/>
                  </a:lnTo>
                  <a:close/>
                  <a:moveTo>
                    <a:pt x="150" y="33"/>
                  </a:moveTo>
                  <a:cubicBezTo>
                    <a:pt x="147" y="31"/>
                    <a:pt x="144" y="29"/>
                    <a:pt x="140" y="27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6" y="26"/>
                    <a:pt x="149" y="28"/>
                    <a:pt x="152" y="30"/>
                  </a:cubicBezTo>
                  <a:lnTo>
                    <a:pt x="150" y="33"/>
                  </a:lnTo>
                  <a:close/>
                  <a:moveTo>
                    <a:pt x="129" y="22"/>
                  </a:moveTo>
                  <a:cubicBezTo>
                    <a:pt x="126" y="21"/>
                    <a:pt x="122" y="19"/>
                    <a:pt x="118" y="18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4" y="15"/>
                    <a:pt x="127" y="17"/>
                    <a:pt x="131" y="19"/>
                  </a:cubicBezTo>
                  <a:lnTo>
                    <a:pt x="129" y="22"/>
                  </a:lnTo>
                  <a:close/>
                  <a:moveTo>
                    <a:pt x="107" y="14"/>
                  </a:moveTo>
                  <a:cubicBezTo>
                    <a:pt x="103" y="13"/>
                    <a:pt x="99" y="12"/>
                    <a:pt x="96" y="1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100" y="8"/>
                    <a:pt x="104" y="9"/>
                    <a:pt x="108" y="10"/>
                  </a:cubicBezTo>
                  <a:lnTo>
                    <a:pt x="107" y="14"/>
                  </a:lnTo>
                  <a:close/>
                  <a:moveTo>
                    <a:pt x="84" y="9"/>
                  </a:moveTo>
                  <a:cubicBezTo>
                    <a:pt x="80" y="8"/>
                    <a:pt x="76" y="7"/>
                    <a:pt x="72" y="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7" y="3"/>
                    <a:pt x="81" y="4"/>
                    <a:pt x="85" y="5"/>
                  </a:cubicBezTo>
                  <a:lnTo>
                    <a:pt x="84" y="9"/>
                  </a:lnTo>
                  <a:close/>
                  <a:moveTo>
                    <a:pt x="60" y="5"/>
                  </a:moveTo>
                  <a:cubicBezTo>
                    <a:pt x="56" y="5"/>
                    <a:pt x="52" y="5"/>
                    <a:pt x="48" y="5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2" y="1"/>
                    <a:pt x="56" y="1"/>
                    <a:pt x="61" y="2"/>
                  </a:cubicBezTo>
                  <a:lnTo>
                    <a:pt x="60" y="5"/>
                  </a:lnTo>
                  <a:close/>
                  <a:moveTo>
                    <a:pt x="1" y="5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5" y="0"/>
                    <a:pt x="12" y="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5" y="4"/>
                    <a:pt x="1" y="5"/>
                    <a:pt x="1" y="5"/>
                  </a:cubicBezTo>
                  <a:close/>
                  <a:moveTo>
                    <a:pt x="36" y="4"/>
                  </a:moveTo>
                  <a:cubicBezTo>
                    <a:pt x="32" y="4"/>
                    <a:pt x="29" y="4"/>
                    <a:pt x="25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2" y="0"/>
                    <a:pt x="36" y="0"/>
                  </a:cubicBezTo>
                  <a:lnTo>
                    <a:pt x="36" y="4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9" name="ïSḷídé">
              <a:extLst>
                <a:ext uri="{FF2B5EF4-FFF2-40B4-BE49-F238E27FC236}">
                  <a16:creationId xmlns:a16="http://schemas.microsoft.com/office/drawing/2014/main" id="{E571A66F-7F2A-4EA5-994D-74099815147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64400" y="4648201"/>
              <a:ext cx="142875" cy="147638"/>
            </a:xfrm>
            <a:custGeom>
              <a:avLst/>
              <a:gdLst>
                <a:gd name="T0" fmla="*/ 90 w 90"/>
                <a:gd name="T1" fmla="*/ 0 h 93"/>
                <a:gd name="T2" fmla="*/ 38 w 90"/>
                <a:gd name="T3" fmla="*/ 45 h 93"/>
                <a:gd name="T4" fmla="*/ 83 w 90"/>
                <a:gd name="T5" fmla="*/ 93 h 93"/>
                <a:gd name="T6" fmla="*/ 45 w 90"/>
                <a:gd name="T7" fmla="*/ 93 h 93"/>
                <a:gd name="T8" fmla="*/ 0 w 90"/>
                <a:gd name="T9" fmla="*/ 41 h 93"/>
                <a:gd name="T10" fmla="*/ 48 w 90"/>
                <a:gd name="T11" fmla="*/ 0 h 93"/>
                <a:gd name="T12" fmla="*/ 90 w 90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3">
                  <a:moveTo>
                    <a:pt x="90" y="0"/>
                  </a:moveTo>
                  <a:lnTo>
                    <a:pt x="38" y="45"/>
                  </a:lnTo>
                  <a:lnTo>
                    <a:pt x="83" y="93"/>
                  </a:lnTo>
                  <a:lnTo>
                    <a:pt x="45" y="93"/>
                  </a:lnTo>
                  <a:lnTo>
                    <a:pt x="0" y="41"/>
                  </a:lnTo>
                  <a:lnTo>
                    <a:pt x="48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0" name="ï$ļídê">
              <a:extLst>
                <a:ext uri="{FF2B5EF4-FFF2-40B4-BE49-F238E27FC236}">
                  <a16:creationId xmlns:a16="http://schemas.microsoft.com/office/drawing/2014/main" id="{E0078F6F-6095-4281-829B-208AB90AFF9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88163" y="2657476"/>
              <a:ext cx="557213" cy="566738"/>
            </a:xfrm>
            <a:custGeom>
              <a:avLst/>
              <a:gdLst>
                <a:gd name="T0" fmla="*/ 102 w 102"/>
                <a:gd name="T1" fmla="*/ 44 h 104"/>
                <a:gd name="T2" fmla="*/ 79 w 102"/>
                <a:gd name="T3" fmla="*/ 79 h 104"/>
                <a:gd name="T4" fmla="*/ 64 w 102"/>
                <a:gd name="T5" fmla="*/ 67 h 104"/>
                <a:gd name="T6" fmla="*/ 48 w 102"/>
                <a:gd name="T7" fmla="*/ 79 h 104"/>
                <a:gd name="T8" fmla="*/ 27 w 102"/>
                <a:gd name="T9" fmla="*/ 53 h 104"/>
                <a:gd name="T10" fmla="*/ 53 w 102"/>
                <a:gd name="T11" fmla="*/ 23 h 104"/>
                <a:gd name="T12" fmla="*/ 72 w 102"/>
                <a:gd name="T13" fmla="*/ 28 h 104"/>
                <a:gd name="T14" fmla="*/ 72 w 102"/>
                <a:gd name="T15" fmla="*/ 57 h 104"/>
                <a:gd name="T16" fmla="*/ 78 w 102"/>
                <a:gd name="T17" fmla="*/ 69 h 104"/>
                <a:gd name="T18" fmla="*/ 89 w 102"/>
                <a:gd name="T19" fmla="*/ 45 h 104"/>
                <a:gd name="T20" fmla="*/ 53 w 102"/>
                <a:gd name="T21" fmla="*/ 11 h 104"/>
                <a:gd name="T22" fmla="*/ 14 w 102"/>
                <a:gd name="T23" fmla="*/ 52 h 104"/>
                <a:gd name="T24" fmla="*/ 53 w 102"/>
                <a:gd name="T25" fmla="*/ 93 h 104"/>
                <a:gd name="T26" fmla="*/ 75 w 102"/>
                <a:gd name="T27" fmla="*/ 89 h 104"/>
                <a:gd name="T28" fmla="*/ 79 w 102"/>
                <a:gd name="T29" fmla="*/ 100 h 104"/>
                <a:gd name="T30" fmla="*/ 53 w 102"/>
                <a:gd name="T31" fmla="*/ 104 h 104"/>
                <a:gd name="T32" fmla="*/ 0 w 102"/>
                <a:gd name="T33" fmla="*/ 52 h 104"/>
                <a:gd name="T34" fmla="*/ 53 w 102"/>
                <a:gd name="T35" fmla="*/ 0 h 104"/>
                <a:gd name="T36" fmla="*/ 102 w 102"/>
                <a:gd name="T37" fmla="*/ 44 h 104"/>
                <a:gd name="T38" fmla="*/ 59 w 102"/>
                <a:gd name="T39" fmla="*/ 61 h 104"/>
                <a:gd name="T40" fmla="*/ 59 w 102"/>
                <a:gd name="T41" fmla="*/ 34 h 104"/>
                <a:gd name="T42" fmla="*/ 53 w 102"/>
                <a:gd name="T43" fmla="*/ 33 h 104"/>
                <a:gd name="T44" fmla="*/ 41 w 102"/>
                <a:gd name="T45" fmla="*/ 53 h 104"/>
                <a:gd name="T46" fmla="*/ 49 w 102"/>
                <a:gd name="T47" fmla="*/ 69 h 104"/>
                <a:gd name="T48" fmla="*/ 59 w 102"/>
                <a:gd name="T49" fmla="*/ 6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04">
                  <a:moveTo>
                    <a:pt x="102" y="44"/>
                  </a:moveTo>
                  <a:cubicBezTo>
                    <a:pt x="102" y="64"/>
                    <a:pt x="94" y="79"/>
                    <a:pt x="79" y="79"/>
                  </a:cubicBezTo>
                  <a:cubicBezTo>
                    <a:pt x="69" y="79"/>
                    <a:pt x="65" y="73"/>
                    <a:pt x="64" y="67"/>
                  </a:cubicBezTo>
                  <a:cubicBezTo>
                    <a:pt x="61" y="73"/>
                    <a:pt x="56" y="79"/>
                    <a:pt x="48" y="79"/>
                  </a:cubicBezTo>
                  <a:cubicBezTo>
                    <a:pt x="34" y="79"/>
                    <a:pt x="27" y="68"/>
                    <a:pt x="27" y="53"/>
                  </a:cubicBezTo>
                  <a:cubicBezTo>
                    <a:pt x="27" y="34"/>
                    <a:pt x="37" y="23"/>
                    <a:pt x="53" y="23"/>
                  </a:cubicBezTo>
                  <a:cubicBezTo>
                    <a:pt x="59" y="23"/>
                    <a:pt x="65" y="25"/>
                    <a:pt x="72" y="28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66"/>
                    <a:pt x="74" y="69"/>
                    <a:pt x="78" y="69"/>
                  </a:cubicBezTo>
                  <a:cubicBezTo>
                    <a:pt x="85" y="69"/>
                    <a:pt x="89" y="63"/>
                    <a:pt x="89" y="45"/>
                  </a:cubicBezTo>
                  <a:cubicBezTo>
                    <a:pt x="89" y="24"/>
                    <a:pt x="77" y="11"/>
                    <a:pt x="53" y="11"/>
                  </a:cubicBezTo>
                  <a:cubicBezTo>
                    <a:pt x="28" y="11"/>
                    <a:pt x="14" y="28"/>
                    <a:pt x="14" y="52"/>
                  </a:cubicBezTo>
                  <a:cubicBezTo>
                    <a:pt x="14" y="77"/>
                    <a:pt x="27" y="93"/>
                    <a:pt x="53" y="93"/>
                  </a:cubicBezTo>
                  <a:cubicBezTo>
                    <a:pt x="61" y="93"/>
                    <a:pt x="69" y="91"/>
                    <a:pt x="75" y="89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1" y="102"/>
                    <a:pt x="63" y="104"/>
                    <a:pt x="53" y="104"/>
                  </a:cubicBezTo>
                  <a:cubicBezTo>
                    <a:pt x="21" y="104"/>
                    <a:pt x="0" y="84"/>
                    <a:pt x="0" y="52"/>
                  </a:cubicBezTo>
                  <a:cubicBezTo>
                    <a:pt x="0" y="22"/>
                    <a:pt x="22" y="0"/>
                    <a:pt x="53" y="0"/>
                  </a:cubicBezTo>
                  <a:cubicBezTo>
                    <a:pt x="85" y="0"/>
                    <a:pt x="102" y="21"/>
                    <a:pt x="102" y="44"/>
                  </a:cubicBezTo>
                  <a:close/>
                  <a:moveTo>
                    <a:pt x="59" y="61"/>
                  </a:moveTo>
                  <a:cubicBezTo>
                    <a:pt x="59" y="34"/>
                    <a:pt x="59" y="34"/>
                    <a:pt x="59" y="34"/>
                  </a:cubicBezTo>
                  <a:cubicBezTo>
                    <a:pt x="57" y="33"/>
                    <a:pt x="55" y="33"/>
                    <a:pt x="53" y="33"/>
                  </a:cubicBezTo>
                  <a:cubicBezTo>
                    <a:pt x="45" y="33"/>
                    <a:pt x="41" y="39"/>
                    <a:pt x="41" y="53"/>
                  </a:cubicBezTo>
                  <a:cubicBezTo>
                    <a:pt x="41" y="64"/>
                    <a:pt x="44" y="69"/>
                    <a:pt x="49" y="69"/>
                  </a:cubicBezTo>
                  <a:cubicBezTo>
                    <a:pt x="55" y="69"/>
                    <a:pt x="58" y="65"/>
                    <a:pt x="59" y="61"/>
                  </a:cubicBez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1" name="íşļîḍe">
              <a:extLst>
                <a:ext uri="{FF2B5EF4-FFF2-40B4-BE49-F238E27FC236}">
                  <a16:creationId xmlns:a16="http://schemas.microsoft.com/office/drawing/2014/main" id="{AF35B207-2442-4733-A6EC-07F528607C5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00525" y="3033713"/>
              <a:ext cx="38100" cy="38100"/>
            </a:xfrm>
            <a:custGeom>
              <a:avLst/>
              <a:gdLst>
                <a:gd name="T0" fmla="*/ 5 w 7"/>
                <a:gd name="T1" fmla="*/ 7 h 7"/>
                <a:gd name="T2" fmla="*/ 0 w 7"/>
                <a:gd name="T3" fmla="*/ 3 h 7"/>
                <a:gd name="T4" fmla="*/ 3 w 7"/>
                <a:gd name="T5" fmla="*/ 0 h 7"/>
                <a:gd name="T6" fmla="*/ 7 w 7"/>
                <a:gd name="T7" fmla="*/ 4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5" y="7"/>
                    <a:pt x="3" y="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2"/>
                    <a:pt x="7" y="4"/>
                    <a:pt x="7" y="4"/>
                  </a:cubicBezTo>
                  <a:lnTo>
                    <a:pt x="5" y="7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2" name="íşļíďe">
              <a:extLst>
                <a:ext uri="{FF2B5EF4-FFF2-40B4-BE49-F238E27FC236}">
                  <a16:creationId xmlns:a16="http://schemas.microsoft.com/office/drawing/2014/main" id="{FA334D30-85D5-42F4-B927-1873BF7C09B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57625" y="1631951"/>
              <a:ext cx="922338" cy="1368425"/>
            </a:xfrm>
            <a:custGeom>
              <a:avLst/>
              <a:gdLst>
                <a:gd name="T0" fmla="*/ 46 w 169"/>
                <a:gd name="T1" fmla="*/ 243 h 251"/>
                <a:gd name="T2" fmla="*/ 57 w 169"/>
                <a:gd name="T3" fmla="*/ 249 h 251"/>
                <a:gd name="T4" fmla="*/ 38 w 169"/>
                <a:gd name="T5" fmla="*/ 233 h 251"/>
                <a:gd name="T6" fmla="*/ 34 w 169"/>
                <a:gd name="T7" fmla="*/ 221 h 251"/>
                <a:gd name="T8" fmla="*/ 38 w 169"/>
                <a:gd name="T9" fmla="*/ 233 h 251"/>
                <a:gd name="T10" fmla="*/ 18 w 169"/>
                <a:gd name="T11" fmla="*/ 203 h 251"/>
                <a:gd name="T12" fmla="*/ 27 w 169"/>
                <a:gd name="T13" fmla="*/ 211 h 251"/>
                <a:gd name="T14" fmla="*/ 12 w 169"/>
                <a:gd name="T15" fmla="*/ 192 h 251"/>
                <a:gd name="T16" fmla="*/ 12 w 169"/>
                <a:gd name="T17" fmla="*/ 179 h 251"/>
                <a:gd name="T18" fmla="*/ 12 w 169"/>
                <a:gd name="T19" fmla="*/ 192 h 251"/>
                <a:gd name="T20" fmla="*/ 2 w 169"/>
                <a:gd name="T21" fmla="*/ 156 h 251"/>
                <a:gd name="T22" fmla="*/ 8 w 169"/>
                <a:gd name="T23" fmla="*/ 167 h 251"/>
                <a:gd name="T24" fmla="*/ 0 w 169"/>
                <a:gd name="T25" fmla="*/ 144 h 251"/>
                <a:gd name="T26" fmla="*/ 0 w 169"/>
                <a:gd name="T27" fmla="*/ 132 h 251"/>
                <a:gd name="T28" fmla="*/ 4 w 169"/>
                <a:gd name="T29" fmla="*/ 135 h 251"/>
                <a:gd name="T30" fmla="*/ 0 w 169"/>
                <a:gd name="T31" fmla="*/ 144 h 251"/>
                <a:gd name="T32" fmla="*/ 1 w 169"/>
                <a:gd name="T33" fmla="*/ 120 h 251"/>
                <a:gd name="T34" fmla="*/ 7 w 169"/>
                <a:gd name="T35" fmla="*/ 108 h 251"/>
                <a:gd name="T36" fmla="*/ 10 w 169"/>
                <a:gd name="T37" fmla="*/ 97 h 251"/>
                <a:gd name="T38" fmla="*/ 10 w 169"/>
                <a:gd name="T39" fmla="*/ 84 h 251"/>
                <a:gd name="T40" fmla="*/ 10 w 169"/>
                <a:gd name="T41" fmla="*/ 97 h 251"/>
                <a:gd name="T42" fmla="*/ 15 w 169"/>
                <a:gd name="T43" fmla="*/ 73 h 251"/>
                <a:gd name="T44" fmla="*/ 24 w 169"/>
                <a:gd name="T45" fmla="*/ 64 h 251"/>
                <a:gd name="T46" fmla="*/ 31 w 169"/>
                <a:gd name="T47" fmla="*/ 54 h 251"/>
                <a:gd name="T48" fmla="*/ 35 w 169"/>
                <a:gd name="T49" fmla="*/ 42 h 251"/>
                <a:gd name="T50" fmla="*/ 31 w 169"/>
                <a:gd name="T51" fmla="*/ 54 h 251"/>
                <a:gd name="T52" fmla="*/ 43 w 169"/>
                <a:gd name="T53" fmla="*/ 33 h 251"/>
                <a:gd name="T54" fmla="*/ 55 w 169"/>
                <a:gd name="T55" fmla="*/ 28 h 251"/>
                <a:gd name="T56" fmla="*/ 65 w 169"/>
                <a:gd name="T57" fmla="*/ 21 h 251"/>
                <a:gd name="T58" fmla="*/ 73 w 169"/>
                <a:gd name="T59" fmla="*/ 12 h 251"/>
                <a:gd name="T60" fmla="*/ 65 w 169"/>
                <a:gd name="T61" fmla="*/ 21 h 251"/>
                <a:gd name="T62" fmla="*/ 85 w 169"/>
                <a:gd name="T63" fmla="*/ 7 h 251"/>
                <a:gd name="T64" fmla="*/ 97 w 169"/>
                <a:gd name="T65" fmla="*/ 7 h 251"/>
                <a:gd name="T66" fmla="*/ 168 w 169"/>
                <a:gd name="T67" fmla="*/ 8 h 251"/>
                <a:gd name="T68" fmla="*/ 157 w 169"/>
                <a:gd name="T69" fmla="*/ 2 h 251"/>
                <a:gd name="T70" fmla="*/ 168 w 169"/>
                <a:gd name="T71" fmla="*/ 8 h 251"/>
                <a:gd name="T72" fmla="*/ 108 w 169"/>
                <a:gd name="T73" fmla="*/ 1 h 251"/>
                <a:gd name="T74" fmla="*/ 121 w 169"/>
                <a:gd name="T75" fmla="*/ 4 h 251"/>
                <a:gd name="T76" fmla="*/ 145 w 169"/>
                <a:gd name="T77" fmla="*/ 4 h 251"/>
                <a:gd name="T78" fmla="*/ 133 w 169"/>
                <a:gd name="T79" fmla="*/ 0 h 251"/>
                <a:gd name="T80" fmla="*/ 145 w 169"/>
                <a:gd name="T81" fmla="*/ 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9" h="251">
                  <a:moveTo>
                    <a:pt x="54" y="251"/>
                  </a:moveTo>
                  <a:cubicBezTo>
                    <a:pt x="51" y="249"/>
                    <a:pt x="49" y="246"/>
                    <a:pt x="46" y="243"/>
                  </a:cubicBezTo>
                  <a:cubicBezTo>
                    <a:pt x="49" y="240"/>
                    <a:pt x="49" y="240"/>
                    <a:pt x="49" y="240"/>
                  </a:cubicBezTo>
                  <a:cubicBezTo>
                    <a:pt x="52" y="243"/>
                    <a:pt x="54" y="246"/>
                    <a:pt x="57" y="249"/>
                  </a:cubicBezTo>
                  <a:lnTo>
                    <a:pt x="54" y="251"/>
                  </a:lnTo>
                  <a:close/>
                  <a:moveTo>
                    <a:pt x="38" y="233"/>
                  </a:moveTo>
                  <a:cubicBezTo>
                    <a:pt x="35" y="230"/>
                    <a:pt x="33" y="227"/>
                    <a:pt x="31" y="223"/>
                  </a:cubicBezTo>
                  <a:cubicBezTo>
                    <a:pt x="34" y="221"/>
                    <a:pt x="34" y="221"/>
                    <a:pt x="34" y="221"/>
                  </a:cubicBezTo>
                  <a:cubicBezTo>
                    <a:pt x="36" y="224"/>
                    <a:pt x="39" y="228"/>
                    <a:pt x="41" y="231"/>
                  </a:cubicBezTo>
                  <a:lnTo>
                    <a:pt x="38" y="233"/>
                  </a:lnTo>
                  <a:close/>
                  <a:moveTo>
                    <a:pt x="24" y="213"/>
                  </a:moveTo>
                  <a:cubicBezTo>
                    <a:pt x="22" y="210"/>
                    <a:pt x="20" y="206"/>
                    <a:pt x="18" y="203"/>
                  </a:cubicBezTo>
                  <a:cubicBezTo>
                    <a:pt x="21" y="201"/>
                    <a:pt x="21" y="201"/>
                    <a:pt x="21" y="201"/>
                  </a:cubicBezTo>
                  <a:cubicBezTo>
                    <a:pt x="23" y="204"/>
                    <a:pt x="25" y="208"/>
                    <a:pt x="27" y="211"/>
                  </a:cubicBezTo>
                  <a:lnTo>
                    <a:pt x="24" y="213"/>
                  </a:lnTo>
                  <a:close/>
                  <a:moveTo>
                    <a:pt x="12" y="192"/>
                  </a:moveTo>
                  <a:cubicBezTo>
                    <a:pt x="11" y="188"/>
                    <a:pt x="9" y="184"/>
                    <a:pt x="8" y="180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3" y="183"/>
                    <a:pt x="15" y="186"/>
                    <a:pt x="16" y="190"/>
                  </a:cubicBezTo>
                  <a:lnTo>
                    <a:pt x="12" y="192"/>
                  </a:lnTo>
                  <a:close/>
                  <a:moveTo>
                    <a:pt x="4" y="168"/>
                  </a:moveTo>
                  <a:cubicBezTo>
                    <a:pt x="3" y="164"/>
                    <a:pt x="3" y="160"/>
                    <a:pt x="2" y="156"/>
                  </a:cubicBezTo>
                  <a:cubicBezTo>
                    <a:pt x="6" y="156"/>
                    <a:pt x="6" y="156"/>
                    <a:pt x="6" y="156"/>
                  </a:cubicBezTo>
                  <a:cubicBezTo>
                    <a:pt x="6" y="160"/>
                    <a:pt x="7" y="164"/>
                    <a:pt x="8" y="167"/>
                  </a:cubicBezTo>
                  <a:lnTo>
                    <a:pt x="4" y="168"/>
                  </a:lnTo>
                  <a:close/>
                  <a:moveTo>
                    <a:pt x="0" y="144"/>
                  </a:moveTo>
                  <a:cubicBezTo>
                    <a:pt x="0" y="141"/>
                    <a:pt x="0" y="138"/>
                    <a:pt x="0" y="135"/>
                  </a:cubicBezTo>
                  <a:cubicBezTo>
                    <a:pt x="0" y="134"/>
                    <a:pt x="0" y="133"/>
                    <a:pt x="0" y="132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4" y="133"/>
                    <a:pt x="4" y="134"/>
                    <a:pt x="4" y="135"/>
                  </a:cubicBezTo>
                  <a:cubicBezTo>
                    <a:pt x="4" y="138"/>
                    <a:pt x="4" y="141"/>
                    <a:pt x="4" y="144"/>
                  </a:cubicBezTo>
                  <a:lnTo>
                    <a:pt x="0" y="144"/>
                  </a:lnTo>
                  <a:close/>
                  <a:moveTo>
                    <a:pt x="5" y="120"/>
                  </a:moveTo>
                  <a:cubicBezTo>
                    <a:pt x="1" y="120"/>
                    <a:pt x="1" y="120"/>
                    <a:pt x="1" y="120"/>
                  </a:cubicBezTo>
                  <a:cubicBezTo>
                    <a:pt x="1" y="116"/>
                    <a:pt x="2" y="112"/>
                    <a:pt x="3" y="108"/>
                  </a:cubicBezTo>
                  <a:cubicBezTo>
                    <a:pt x="7" y="108"/>
                    <a:pt x="7" y="108"/>
                    <a:pt x="7" y="108"/>
                  </a:cubicBezTo>
                  <a:cubicBezTo>
                    <a:pt x="6" y="112"/>
                    <a:pt x="5" y="116"/>
                    <a:pt x="5" y="120"/>
                  </a:cubicBezTo>
                  <a:close/>
                  <a:moveTo>
                    <a:pt x="10" y="97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7" y="92"/>
                    <a:pt x="9" y="88"/>
                    <a:pt x="10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9"/>
                    <a:pt x="11" y="93"/>
                    <a:pt x="10" y="97"/>
                  </a:cubicBezTo>
                  <a:close/>
                  <a:moveTo>
                    <a:pt x="19" y="75"/>
                  </a:moveTo>
                  <a:cubicBezTo>
                    <a:pt x="15" y="73"/>
                    <a:pt x="15" y="73"/>
                    <a:pt x="15" y="73"/>
                  </a:cubicBezTo>
                  <a:cubicBezTo>
                    <a:pt x="17" y="69"/>
                    <a:pt x="19" y="66"/>
                    <a:pt x="21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2" y="68"/>
                    <a:pt x="20" y="71"/>
                    <a:pt x="19" y="75"/>
                  </a:cubicBezTo>
                  <a:close/>
                  <a:moveTo>
                    <a:pt x="31" y="54"/>
                  </a:moveTo>
                  <a:cubicBezTo>
                    <a:pt x="28" y="52"/>
                    <a:pt x="28" y="52"/>
                    <a:pt x="28" y="52"/>
                  </a:cubicBezTo>
                  <a:cubicBezTo>
                    <a:pt x="30" y="48"/>
                    <a:pt x="32" y="45"/>
                    <a:pt x="35" y="42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6" y="47"/>
                    <a:pt x="33" y="51"/>
                    <a:pt x="31" y="54"/>
                  </a:cubicBezTo>
                  <a:close/>
                  <a:moveTo>
                    <a:pt x="46" y="36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6" y="30"/>
                    <a:pt x="49" y="27"/>
                    <a:pt x="52" y="25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2" y="30"/>
                    <a:pt x="49" y="33"/>
                    <a:pt x="46" y="36"/>
                  </a:cubicBezTo>
                  <a:close/>
                  <a:moveTo>
                    <a:pt x="65" y="21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66" y="15"/>
                    <a:pt x="70" y="13"/>
                    <a:pt x="73" y="12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1" y="17"/>
                    <a:pt x="68" y="19"/>
                    <a:pt x="65" y="21"/>
                  </a:cubicBezTo>
                  <a:close/>
                  <a:moveTo>
                    <a:pt x="86" y="11"/>
                  </a:moveTo>
                  <a:cubicBezTo>
                    <a:pt x="85" y="7"/>
                    <a:pt x="85" y="7"/>
                    <a:pt x="85" y="7"/>
                  </a:cubicBezTo>
                  <a:cubicBezTo>
                    <a:pt x="88" y="5"/>
                    <a:pt x="92" y="4"/>
                    <a:pt x="96" y="3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3" y="8"/>
                    <a:pt x="90" y="9"/>
                    <a:pt x="86" y="11"/>
                  </a:cubicBezTo>
                  <a:close/>
                  <a:moveTo>
                    <a:pt x="168" y="8"/>
                  </a:moveTo>
                  <a:cubicBezTo>
                    <a:pt x="164" y="7"/>
                    <a:pt x="161" y="6"/>
                    <a:pt x="157" y="6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61" y="2"/>
                    <a:pt x="165" y="3"/>
                    <a:pt x="169" y="4"/>
                  </a:cubicBezTo>
                  <a:lnTo>
                    <a:pt x="168" y="8"/>
                  </a:lnTo>
                  <a:close/>
                  <a:moveTo>
                    <a:pt x="109" y="5"/>
                  </a:moveTo>
                  <a:cubicBezTo>
                    <a:pt x="108" y="1"/>
                    <a:pt x="108" y="1"/>
                    <a:pt x="108" y="1"/>
                  </a:cubicBezTo>
                  <a:cubicBezTo>
                    <a:pt x="112" y="0"/>
                    <a:pt x="117" y="0"/>
                    <a:pt x="121" y="0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17" y="4"/>
                    <a:pt x="113" y="4"/>
                    <a:pt x="109" y="5"/>
                  </a:cubicBezTo>
                  <a:close/>
                  <a:moveTo>
                    <a:pt x="145" y="4"/>
                  </a:moveTo>
                  <a:cubicBezTo>
                    <a:pt x="141" y="4"/>
                    <a:pt x="137" y="4"/>
                    <a:pt x="133" y="4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37" y="0"/>
                    <a:pt x="141" y="0"/>
                    <a:pt x="145" y="0"/>
                  </a:cubicBezTo>
                  <a:lnTo>
                    <a:pt x="145" y="4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3" name="îśḷídê">
              <a:extLst>
                <a:ext uri="{FF2B5EF4-FFF2-40B4-BE49-F238E27FC236}">
                  <a16:creationId xmlns:a16="http://schemas.microsoft.com/office/drawing/2014/main" id="{9E42861B-EF3C-4A99-8637-29EE9E2F878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40288" y="1670051"/>
              <a:ext cx="38100" cy="26988"/>
            </a:xfrm>
            <a:custGeom>
              <a:avLst/>
              <a:gdLst>
                <a:gd name="T0" fmla="*/ 6 w 7"/>
                <a:gd name="T1" fmla="*/ 5 h 5"/>
                <a:gd name="T2" fmla="*/ 0 w 7"/>
                <a:gd name="T3" fmla="*/ 4 h 5"/>
                <a:gd name="T4" fmla="*/ 1 w 7"/>
                <a:gd name="T5" fmla="*/ 0 h 5"/>
                <a:gd name="T6" fmla="*/ 7 w 7"/>
                <a:gd name="T7" fmla="*/ 2 h 5"/>
                <a:gd name="T8" fmla="*/ 6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5"/>
                  </a:moveTo>
                  <a:cubicBezTo>
                    <a:pt x="4" y="5"/>
                    <a:pt x="2" y="4"/>
                    <a:pt x="0" y="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5" y="1"/>
                    <a:pt x="7" y="2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4" name="îşļiḍe">
              <a:extLst>
                <a:ext uri="{FF2B5EF4-FFF2-40B4-BE49-F238E27FC236}">
                  <a16:creationId xmlns:a16="http://schemas.microsoft.com/office/drawing/2014/main" id="{C6D48209-E815-4C94-BA2B-6C1AD1AF430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25988" y="1549401"/>
              <a:ext cx="223838" cy="234950"/>
            </a:xfrm>
            <a:custGeom>
              <a:avLst/>
              <a:gdLst>
                <a:gd name="T0" fmla="*/ 0 w 141"/>
                <a:gd name="T1" fmla="*/ 134 h 148"/>
                <a:gd name="T2" fmla="*/ 86 w 141"/>
                <a:gd name="T3" fmla="*/ 86 h 148"/>
                <a:gd name="T4" fmla="*/ 37 w 141"/>
                <a:gd name="T5" fmla="*/ 0 h 148"/>
                <a:gd name="T6" fmla="*/ 96 w 141"/>
                <a:gd name="T7" fmla="*/ 14 h 148"/>
                <a:gd name="T8" fmla="*/ 141 w 141"/>
                <a:gd name="T9" fmla="*/ 103 h 148"/>
                <a:gd name="T10" fmla="*/ 55 w 141"/>
                <a:gd name="T11" fmla="*/ 148 h 148"/>
                <a:gd name="T12" fmla="*/ 0 w 141"/>
                <a:gd name="T13" fmla="*/ 13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148">
                  <a:moveTo>
                    <a:pt x="0" y="134"/>
                  </a:moveTo>
                  <a:lnTo>
                    <a:pt x="86" y="86"/>
                  </a:lnTo>
                  <a:lnTo>
                    <a:pt x="37" y="0"/>
                  </a:lnTo>
                  <a:lnTo>
                    <a:pt x="96" y="14"/>
                  </a:lnTo>
                  <a:lnTo>
                    <a:pt x="141" y="103"/>
                  </a:lnTo>
                  <a:lnTo>
                    <a:pt x="55" y="148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5" name="îṡ1íḑê">
              <a:extLst>
                <a:ext uri="{FF2B5EF4-FFF2-40B4-BE49-F238E27FC236}">
                  <a16:creationId xmlns:a16="http://schemas.microsoft.com/office/drawing/2014/main" id="{5CFDB6A6-6F40-445D-9A6F-2F6C7BE90E4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78588" y="4603751"/>
              <a:ext cx="98425" cy="104775"/>
            </a:xfrm>
            <a:custGeom>
              <a:avLst/>
              <a:gdLst>
                <a:gd name="T0" fmla="*/ 38 w 62"/>
                <a:gd name="T1" fmla="*/ 0 h 66"/>
                <a:gd name="T2" fmla="*/ 62 w 62"/>
                <a:gd name="T3" fmla="*/ 66 h 66"/>
                <a:gd name="T4" fmla="*/ 0 w 62"/>
                <a:gd name="T5" fmla="*/ 21 h 66"/>
                <a:gd name="T6" fmla="*/ 38 w 6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66">
                  <a:moveTo>
                    <a:pt x="38" y="0"/>
                  </a:moveTo>
                  <a:lnTo>
                    <a:pt x="62" y="66"/>
                  </a:lnTo>
                  <a:lnTo>
                    <a:pt x="0" y="21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6" name="ïşlíde">
              <a:extLst>
                <a:ext uri="{FF2B5EF4-FFF2-40B4-BE49-F238E27FC236}">
                  <a16:creationId xmlns:a16="http://schemas.microsoft.com/office/drawing/2014/main" id="{D79EDA6E-5E5D-4CF2-960B-4A32E8703BA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78588" y="4603751"/>
              <a:ext cx="98425" cy="104775"/>
            </a:xfrm>
            <a:custGeom>
              <a:avLst/>
              <a:gdLst>
                <a:gd name="T0" fmla="*/ 38 w 62"/>
                <a:gd name="T1" fmla="*/ 0 h 66"/>
                <a:gd name="T2" fmla="*/ 62 w 62"/>
                <a:gd name="T3" fmla="*/ 66 h 66"/>
                <a:gd name="T4" fmla="*/ 0 w 62"/>
                <a:gd name="T5" fmla="*/ 21 h 66"/>
                <a:gd name="T6" fmla="*/ 38 w 6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66">
                  <a:moveTo>
                    <a:pt x="38" y="0"/>
                  </a:moveTo>
                  <a:lnTo>
                    <a:pt x="62" y="66"/>
                  </a:lnTo>
                  <a:lnTo>
                    <a:pt x="0" y="21"/>
                  </a:lnTo>
                  <a:lnTo>
                    <a:pt x="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7" name="íŝļidè">
              <a:extLst>
                <a:ext uri="{FF2B5EF4-FFF2-40B4-BE49-F238E27FC236}">
                  <a16:creationId xmlns:a16="http://schemas.microsoft.com/office/drawing/2014/main" id="{B1CB3D53-F43C-42D4-9DA9-64FE248355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0338" y="4614863"/>
              <a:ext cx="60325" cy="76200"/>
            </a:xfrm>
            <a:custGeom>
              <a:avLst/>
              <a:gdLst>
                <a:gd name="T0" fmla="*/ 6 w 11"/>
                <a:gd name="T1" fmla="*/ 0 h 14"/>
                <a:gd name="T2" fmla="*/ 0 w 11"/>
                <a:gd name="T3" fmla="*/ 3 h 14"/>
                <a:gd name="T4" fmla="*/ 11 w 11"/>
                <a:gd name="T5" fmla="*/ 14 h 14"/>
                <a:gd name="T6" fmla="*/ 6 w 11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4">
                  <a:moveTo>
                    <a:pt x="6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7"/>
                    <a:pt x="8" y="11"/>
                    <a:pt x="11" y="14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8" name="ïṣ1îḑé">
              <a:extLst>
                <a:ext uri="{FF2B5EF4-FFF2-40B4-BE49-F238E27FC236}">
                  <a16:creationId xmlns:a16="http://schemas.microsoft.com/office/drawing/2014/main" id="{2B0F681C-18B2-4D9A-994C-CEB85419E57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96000" y="4249738"/>
              <a:ext cx="196850" cy="120650"/>
            </a:xfrm>
            <a:custGeom>
              <a:avLst/>
              <a:gdLst>
                <a:gd name="T0" fmla="*/ 107 w 124"/>
                <a:gd name="T1" fmla="*/ 0 h 76"/>
                <a:gd name="T2" fmla="*/ 124 w 124"/>
                <a:gd name="T3" fmla="*/ 34 h 76"/>
                <a:gd name="T4" fmla="*/ 107 w 124"/>
                <a:gd name="T5" fmla="*/ 76 h 76"/>
                <a:gd name="T6" fmla="*/ 52 w 124"/>
                <a:gd name="T7" fmla="*/ 76 h 76"/>
                <a:gd name="T8" fmla="*/ 0 w 124"/>
                <a:gd name="T9" fmla="*/ 58 h 76"/>
                <a:gd name="T10" fmla="*/ 14 w 124"/>
                <a:gd name="T11" fmla="*/ 10 h 76"/>
                <a:gd name="T12" fmla="*/ 107 w 124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76">
                  <a:moveTo>
                    <a:pt x="107" y="0"/>
                  </a:moveTo>
                  <a:lnTo>
                    <a:pt x="124" y="34"/>
                  </a:lnTo>
                  <a:lnTo>
                    <a:pt x="107" y="76"/>
                  </a:lnTo>
                  <a:lnTo>
                    <a:pt x="52" y="76"/>
                  </a:lnTo>
                  <a:lnTo>
                    <a:pt x="0" y="58"/>
                  </a:lnTo>
                  <a:lnTo>
                    <a:pt x="14" y="1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9" name="ïṥ1îḑe">
              <a:extLst>
                <a:ext uri="{FF2B5EF4-FFF2-40B4-BE49-F238E27FC236}">
                  <a16:creationId xmlns:a16="http://schemas.microsoft.com/office/drawing/2014/main" id="{5859D159-E81B-468E-A23F-B1F5B928879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96000" y="4249738"/>
              <a:ext cx="196850" cy="120650"/>
            </a:xfrm>
            <a:custGeom>
              <a:avLst/>
              <a:gdLst>
                <a:gd name="T0" fmla="*/ 107 w 124"/>
                <a:gd name="T1" fmla="*/ 0 h 76"/>
                <a:gd name="T2" fmla="*/ 124 w 124"/>
                <a:gd name="T3" fmla="*/ 34 h 76"/>
                <a:gd name="T4" fmla="*/ 107 w 124"/>
                <a:gd name="T5" fmla="*/ 76 h 76"/>
                <a:gd name="T6" fmla="*/ 52 w 124"/>
                <a:gd name="T7" fmla="*/ 76 h 76"/>
                <a:gd name="T8" fmla="*/ 0 w 124"/>
                <a:gd name="T9" fmla="*/ 58 h 76"/>
                <a:gd name="T10" fmla="*/ 14 w 124"/>
                <a:gd name="T11" fmla="*/ 10 h 76"/>
                <a:gd name="T12" fmla="*/ 107 w 124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76">
                  <a:moveTo>
                    <a:pt x="107" y="0"/>
                  </a:moveTo>
                  <a:lnTo>
                    <a:pt x="124" y="34"/>
                  </a:lnTo>
                  <a:lnTo>
                    <a:pt x="107" y="76"/>
                  </a:lnTo>
                  <a:lnTo>
                    <a:pt x="52" y="76"/>
                  </a:lnTo>
                  <a:lnTo>
                    <a:pt x="0" y="58"/>
                  </a:lnTo>
                  <a:lnTo>
                    <a:pt x="14" y="10"/>
                  </a:lnTo>
                  <a:lnTo>
                    <a:pt x="1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0" name="íśļíďê">
              <a:extLst>
                <a:ext uri="{FF2B5EF4-FFF2-40B4-BE49-F238E27FC236}">
                  <a16:creationId xmlns:a16="http://schemas.microsoft.com/office/drawing/2014/main" id="{6C9FF4B1-9992-4431-ACDF-96A010F40FB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10300" y="4249738"/>
              <a:ext cx="76200" cy="103188"/>
            </a:xfrm>
            <a:custGeom>
              <a:avLst/>
              <a:gdLst>
                <a:gd name="T0" fmla="*/ 10 w 14"/>
                <a:gd name="T1" fmla="*/ 0 h 19"/>
                <a:gd name="T2" fmla="*/ 10 w 14"/>
                <a:gd name="T3" fmla="*/ 0 h 19"/>
                <a:gd name="T4" fmla="*/ 4 w 14"/>
                <a:gd name="T5" fmla="*/ 2 h 19"/>
                <a:gd name="T6" fmla="*/ 0 w 14"/>
                <a:gd name="T7" fmla="*/ 3 h 19"/>
                <a:gd name="T8" fmla="*/ 1 w 14"/>
                <a:gd name="T9" fmla="*/ 12 h 19"/>
                <a:gd name="T10" fmla="*/ 7 w 14"/>
                <a:gd name="T11" fmla="*/ 19 h 19"/>
                <a:gd name="T12" fmla="*/ 14 w 14"/>
                <a:gd name="T13" fmla="*/ 8 h 19"/>
                <a:gd name="T14" fmla="*/ 10 w 14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9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8" y="1"/>
                    <a:pt x="4" y="2"/>
                    <a:pt x="4" y="2"/>
                  </a:cubicBezTo>
                  <a:cubicBezTo>
                    <a:pt x="3" y="2"/>
                    <a:pt x="2" y="3"/>
                    <a:pt x="0" y="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3" y="15"/>
                    <a:pt x="14" y="9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1" name="išlîḍê">
              <a:extLst>
                <a:ext uri="{FF2B5EF4-FFF2-40B4-BE49-F238E27FC236}">
                  <a16:creationId xmlns:a16="http://schemas.microsoft.com/office/drawing/2014/main" id="{92368922-0FB8-4C51-9AC3-416C8678874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57863" y="4287838"/>
              <a:ext cx="796925" cy="644525"/>
            </a:xfrm>
            <a:custGeom>
              <a:avLst/>
              <a:gdLst>
                <a:gd name="T0" fmla="*/ 0 w 146"/>
                <a:gd name="T1" fmla="*/ 53 h 118"/>
                <a:gd name="T2" fmla="*/ 26 w 146"/>
                <a:gd name="T3" fmla="*/ 97 h 118"/>
                <a:gd name="T4" fmla="*/ 46 w 146"/>
                <a:gd name="T5" fmla="*/ 117 h 118"/>
                <a:gd name="T6" fmla="*/ 82 w 146"/>
                <a:gd name="T7" fmla="*/ 118 h 118"/>
                <a:gd name="T8" fmla="*/ 108 w 146"/>
                <a:gd name="T9" fmla="*/ 95 h 118"/>
                <a:gd name="T10" fmla="*/ 124 w 146"/>
                <a:gd name="T11" fmla="*/ 70 h 118"/>
                <a:gd name="T12" fmla="*/ 146 w 146"/>
                <a:gd name="T13" fmla="*/ 59 h 118"/>
                <a:gd name="T14" fmla="*/ 132 w 146"/>
                <a:gd name="T15" fmla="*/ 17 h 118"/>
                <a:gd name="T16" fmla="*/ 97 w 146"/>
                <a:gd name="T17" fmla="*/ 1 h 118"/>
                <a:gd name="T18" fmla="*/ 77 w 146"/>
                <a:gd name="T19" fmla="*/ 15 h 118"/>
                <a:gd name="T20" fmla="*/ 56 w 146"/>
                <a:gd name="T21" fmla="*/ 0 h 118"/>
                <a:gd name="T22" fmla="*/ 0 w 146"/>
                <a:gd name="T23" fmla="*/ 5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118">
                  <a:moveTo>
                    <a:pt x="0" y="53"/>
                  </a:moveTo>
                  <a:cubicBezTo>
                    <a:pt x="26" y="97"/>
                    <a:pt x="26" y="97"/>
                    <a:pt x="26" y="9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82" y="118"/>
                    <a:pt x="82" y="118"/>
                    <a:pt x="82" y="118"/>
                  </a:cubicBezTo>
                  <a:cubicBezTo>
                    <a:pt x="108" y="95"/>
                    <a:pt x="108" y="95"/>
                    <a:pt x="108" y="95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46" y="59"/>
                    <a:pt x="146" y="59"/>
                    <a:pt x="146" y="59"/>
                  </a:cubicBezTo>
                  <a:cubicBezTo>
                    <a:pt x="146" y="59"/>
                    <a:pt x="141" y="27"/>
                    <a:pt x="132" y="17"/>
                  </a:cubicBezTo>
                  <a:cubicBezTo>
                    <a:pt x="123" y="8"/>
                    <a:pt x="97" y="1"/>
                    <a:pt x="97" y="1"/>
                  </a:cubicBezTo>
                  <a:cubicBezTo>
                    <a:pt x="97" y="1"/>
                    <a:pt x="96" y="16"/>
                    <a:pt x="77" y="15"/>
                  </a:cubicBezTo>
                  <a:cubicBezTo>
                    <a:pt x="59" y="15"/>
                    <a:pt x="56" y="0"/>
                    <a:pt x="56" y="0"/>
                  </a:cubicBezTo>
                  <a:cubicBezTo>
                    <a:pt x="0" y="53"/>
                    <a:pt x="0" y="53"/>
                    <a:pt x="0" y="53"/>
                  </a:cubicBezTo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2" name="ïṡlîdè">
              <a:extLst>
                <a:ext uri="{FF2B5EF4-FFF2-40B4-BE49-F238E27FC236}">
                  <a16:creationId xmlns:a16="http://schemas.microsoft.com/office/drawing/2014/main" id="{52102E3D-19C1-4FE7-B6DB-E8D332F46E5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48363" y="4565651"/>
              <a:ext cx="393700" cy="333375"/>
            </a:xfrm>
            <a:custGeom>
              <a:avLst/>
              <a:gdLst>
                <a:gd name="T0" fmla="*/ 47 w 72"/>
                <a:gd name="T1" fmla="*/ 26 h 61"/>
                <a:gd name="T2" fmla="*/ 44 w 72"/>
                <a:gd name="T3" fmla="*/ 27 h 61"/>
                <a:gd name="T4" fmla="*/ 41 w 72"/>
                <a:gd name="T5" fmla="*/ 27 h 61"/>
                <a:gd name="T6" fmla="*/ 7 w 72"/>
                <a:gd name="T7" fmla="*/ 46 h 61"/>
                <a:gd name="T8" fmla="*/ 0 w 72"/>
                <a:gd name="T9" fmla="*/ 45 h 61"/>
                <a:gd name="T10" fmla="*/ 10 w 72"/>
                <a:gd name="T11" fmla="*/ 58 h 61"/>
                <a:gd name="T12" fmla="*/ 15 w 72"/>
                <a:gd name="T13" fmla="*/ 61 h 61"/>
                <a:gd name="T14" fmla="*/ 17 w 72"/>
                <a:gd name="T15" fmla="*/ 61 h 61"/>
                <a:gd name="T16" fmla="*/ 19 w 72"/>
                <a:gd name="T17" fmla="*/ 60 h 61"/>
                <a:gd name="T18" fmla="*/ 20 w 72"/>
                <a:gd name="T19" fmla="*/ 61 h 61"/>
                <a:gd name="T20" fmla="*/ 24 w 72"/>
                <a:gd name="T21" fmla="*/ 61 h 61"/>
                <a:gd name="T22" fmla="*/ 46 w 72"/>
                <a:gd name="T23" fmla="*/ 60 h 61"/>
                <a:gd name="T24" fmla="*/ 44 w 72"/>
                <a:gd name="T25" fmla="*/ 43 h 61"/>
                <a:gd name="T26" fmla="*/ 47 w 72"/>
                <a:gd name="T27" fmla="*/ 26 h 61"/>
                <a:gd name="T28" fmla="*/ 67 w 72"/>
                <a:gd name="T29" fmla="*/ 0 h 61"/>
                <a:gd name="T30" fmla="*/ 56 w 72"/>
                <a:gd name="T31" fmla="*/ 12 h 61"/>
                <a:gd name="T32" fmla="*/ 56 w 72"/>
                <a:gd name="T33" fmla="*/ 12 h 61"/>
                <a:gd name="T34" fmla="*/ 55 w 72"/>
                <a:gd name="T35" fmla="*/ 17 h 61"/>
                <a:gd name="T36" fmla="*/ 64 w 72"/>
                <a:gd name="T37" fmla="*/ 17 h 61"/>
                <a:gd name="T38" fmla="*/ 72 w 72"/>
                <a:gd name="T39" fmla="*/ 16 h 61"/>
                <a:gd name="T40" fmla="*/ 72 w 72"/>
                <a:gd name="T41" fmla="*/ 16 h 61"/>
                <a:gd name="T42" fmla="*/ 67 w 72"/>
                <a:gd name="T4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2" h="61">
                  <a:moveTo>
                    <a:pt x="47" y="26"/>
                  </a:moveTo>
                  <a:cubicBezTo>
                    <a:pt x="46" y="26"/>
                    <a:pt x="45" y="27"/>
                    <a:pt x="44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28" y="42"/>
                    <a:pt x="16" y="46"/>
                    <a:pt x="7" y="46"/>
                  </a:cubicBezTo>
                  <a:cubicBezTo>
                    <a:pt x="4" y="46"/>
                    <a:pt x="2" y="46"/>
                    <a:pt x="0" y="45"/>
                  </a:cubicBezTo>
                  <a:cubicBezTo>
                    <a:pt x="5" y="52"/>
                    <a:pt x="8" y="56"/>
                    <a:pt x="10" y="58"/>
                  </a:cubicBezTo>
                  <a:cubicBezTo>
                    <a:pt x="12" y="60"/>
                    <a:pt x="13" y="61"/>
                    <a:pt x="15" y="61"/>
                  </a:cubicBezTo>
                  <a:cubicBezTo>
                    <a:pt x="15" y="61"/>
                    <a:pt x="16" y="61"/>
                    <a:pt x="17" y="61"/>
                  </a:cubicBezTo>
                  <a:cubicBezTo>
                    <a:pt x="17" y="61"/>
                    <a:pt x="18" y="60"/>
                    <a:pt x="19" y="60"/>
                  </a:cubicBezTo>
                  <a:cubicBezTo>
                    <a:pt x="19" y="60"/>
                    <a:pt x="20" y="60"/>
                    <a:pt x="20" y="61"/>
                  </a:cubicBezTo>
                  <a:cubicBezTo>
                    <a:pt x="21" y="61"/>
                    <a:pt x="22" y="61"/>
                    <a:pt x="24" y="61"/>
                  </a:cubicBezTo>
                  <a:cubicBezTo>
                    <a:pt x="30" y="61"/>
                    <a:pt x="40" y="60"/>
                    <a:pt x="46" y="60"/>
                  </a:cubicBezTo>
                  <a:cubicBezTo>
                    <a:pt x="45" y="52"/>
                    <a:pt x="44" y="46"/>
                    <a:pt x="44" y="43"/>
                  </a:cubicBezTo>
                  <a:cubicBezTo>
                    <a:pt x="44" y="38"/>
                    <a:pt x="45" y="31"/>
                    <a:pt x="47" y="26"/>
                  </a:cubicBezTo>
                  <a:moveTo>
                    <a:pt x="67" y="0"/>
                  </a:moveTo>
                  <a:cubicBezTo>
                    <a:pt x="56" y="12"/>
                    <a:pt x="56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4"/>
                    <a:pt x="56" y="16"/>
                    <a:pt x="55" y="17"/>
                  </a:cubicBezTo>
                  <a:cubicBezTo>
                    <a:pt x="59" y="17"/>
                    <a:pt x="64" y="17"/>
                    <a:pt x="64" y="17"/>
                  </a:cubicBezTo>
                  <a:cubicBezTo>
                    <a:pt x="66" y="16"/>
                    <a:pt x="68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3" name="íṣḻidé">
              <a:extLst>
                <a:ext uri="{FF2B5EF4-FFF2-40B4-BE49-F238E27FC236}">
                  <a16:creationId xmlns:a16="http://schemas.microsoft.com/office/drawing/2014/main" id="{675295BE-8CF1-4F09-8A0B-01B3B23ADAE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97575" y="3867151"/>
              <a:ext cx="371475" cy="404813"/>
            </a:xfrm>
            <a:custGeom>
              <a:avLst/>
              <a:gdLst>
                <a:gd name="T0" fmla="*/ 43 w 68"/>
                <a:gd name="T1" fmla="*/ 72 h 74"/>
                <a:gd name="T2" fmla="*/ 51 w 68"/>
                <a:gd name="T3" fmla="*/ 69 h 74"/>
                <a:gd name="T4" fmla="*/ 62 w 68"/>
                <a:gd name="T5" fmla="*/ 42 h 74"/>
                <a:gd name="T6" fmla="*/ 63 w 68"/>
                <a:gd name="T7" fmla="*/ 26 h 74"/>
                <a:gd name="T8" fmla="*/ 68 w 68"/>
                <a:gd name="T9" fmla="*/ 21 h 74"/>
                <a:gd name="T10" fmla="*/ 64 w 68"/>
                <a:gd name="T11" fmla="*/ 14 h 74"/>
                <a:gd name="T12" fmla="*/ 58 w 68"/>
                <a:gd name="T13" fmla="*/ 17 h 74"/>
                <a:gd name="T14" fmla="*/ 51 w 68"/>
                <a:gd name="T15" fmla="*/ 8 h 74"/>
                <a:gd name="T16" fmla="*/ 40 w 68"/>
                <a:gd name="T17" fmla="*/ 0 h 74"/>
                <a:gd name="T18" fmla="*/ 23 w 68"/>
                <a:gd name="T19" fmla="*/ 1 h 74"/>
                <a:gd name="T20" fmla="*/ 1 w 68"/>
                <a:gd name="T21" fmla="*/ 6 h 74"/>
                <a:gd name="T22" fmla="*/ 0 w 68"/>
                <a:gd name="T23" fmla="*/ 19 h 74"/>
                <a:gd name="T24" fmla="*/ 4 w 68"/>
                <a:gd name="T25" fmla="*/ 46 h 74"/>
                <a:gd name="T26" fmla="*/ 22 w 68"/>
                <a:gd name="T27" fmla="*/ 73 h 74"/>
                <a:gd name="T28" fmla="*/ 43 w 68"/>
                <a:gd name="T29" fmla="*/ 7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" h="74">
                  <a:moveTo>
                    <a:pt x="43" y="72"/>
                  </a:moveTo>
                  <a:cubicBezTo>
                    <a:pt x="43" y="72"/>
                    <a:pt x="50" y="71"/>
                    <a:pt x="51" y="69"/>
                  </a:cubicBezTo>
                  <a:cubicBezTo>
                    <a:pt x="53" y="66"/>
                    <a:pt x="61" y="50"/>
                    <a:pt x="62" y="42"/>
                  </a:cubicBezTo>
                  <a:cubicBezTo>
                    <a:pt x="62" y="35"/>
                    <a:pt x="63" y="26"/>
                    <a:pt x="63" y="26"/>
                  </a:cubicBezTo>
                  <a:cubicBezTo>
                    <a:pt x="63" y="26"/>
                    <a:pt x="68" y="24"/>
                    <a:pt x="68" y="21"/>
                  </a:cubicBezTo>
                  <a:cubicBezTo>
                    <a:pt x="68" y="18"/>
                    <a:pt x="66" y="14"/>
                    <a:pt x="64" y="14"/>
                  </a:cubicBezTo>
                  <a:cubicBezTo>
                    <a:pt x="63" y="14"/>
                    <a:pt x="58" y="17"/>
                    <a:pt x="58" y="17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34"/>
                    <a:pt x="4" y="46"/>
                  </a:cubicBezTo>
                  <a:cubicBezTo>
                    <a:pt x="8" y="57"/>
                    <a:pt x="22" y="73"/>
                    <a:pt x="22" y="73"/>
                  </a:cubicBezTo>
                  <a:cubicBezTo>
                    <a:pt x="22" y="73"/>
                    <a:pt x="39" y="74"/>
                    <a:pt x="43" y="72"/>
                  </a:cubicBezTo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4" name="ïsḷíḑe">
              <a:extLst>
                <a:ext uri="{FF2B5EF4-FFF2-40B4-BE49-F238E27FC236}">
                  <a16:creationId xmlns:a16="http://schemas.microsoft.com/office/drawing/2014/main" id="{7596F0D2-37B1-457F-93DB-A391850B170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81700" y="3779838"/>
              <a:ext cx="354013" cy="257175"/>
            </a:xfrm>
            <a:custGeom>
              <a:avLst/>
              <a:gdLst>
                <a:gd name="T0" fmla="*/ 52 w 65"/>
                <a:gd name="T1" fmla="*/ 36 h 47"/>
                <a:gd name="T2" fmla="*/ 54 w 65"/>
                <a:gd name="T3" fmla="*/ 45 h 47"/>
                <a:gd name="T4" fmla="*/ 61 w 65"/>
                <a:gd name="T5" fmla="*/ 44 h 47"/>
                <a:gd name="T6" fmla="*/ 61 w 65"/>
                <a:gd name="T7" fmla="*/ 33 h 47"/>
                <a:gd name="T8" fmla="*/ 65 w 65"/>
                <a:gd name="T9" fmla="*/ 30 h 47"/>
                <a:gd name="T10" fmla="*/ 55 w 65"/>
                <a:gd name="T11" fmla="*/ 7 h 47"/>
                <a:gd name="T12" fmla="*/ 33 w 65"/>
                <a:gd name="T13" fmla="*/ 0 h 47"/>
                <a:gd name="T14" fmla="*/ 8 w 65"/>
                <a:gd name="T15" fmla="*/ 7 h 47"/>
                <a:gd name="T16" fmla="*/ 0 w 65"/>
                <a:gd name="T17" fmla="*/ 26 h 47"/>
                <a:gd name="T18" fmla="*/ 3 w 65"/>
                <a:gd name="T19" fmla="*/ 35 h 47"/>
                <a:gd name="T20" fmla="*/ 12 w 65"/>
                <a:gd name="T21" fmla="*/ 24 h 47"/>
                <a:gd name="T22" fmla="*/ 25 w 65"/>
                <a:gd name="T23" fmla="*/ 26 h 47"/>
                <a:gd name="T24" fmla="*/ 37 w 65"/>
                <a:gd name="T25" fmla="*/ 21 h 47"/>
                <a:gd name="T26" fmla="*/ 52 w 65"/>
                <a:gd name="T2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47">
                  <a:moveTo>
                    <a:pt x="52" y="36"/>
                  </a:moveTo>
                  <a:cubicBezTo>
                    <a:pt x="52" y="36"/>
                    <a:pt x="54" y="45"/>
                    <a:pt x="54" y="45"/>
                  </a:cubicBezTo>
                  <a:cubicBezTo>
                    <a:pt x="56" y="47"/>
                    <a:pt x="61" y="44"/>
                    <a:pt x="61" y="4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5" y="30"/>
                    <a:pt x="60" y="12"/>
                    <a:pt x="55" y="7"/>
                  </a:cubicBezTo>
                  <a:cubicBezTo>
                    <a:pt x="51" y="2"/>
                    <a:pt x="43" y="0"/>
                    <a:pt x="33" y="0"/>
                  </a:cubicBezTo>
                  <a:cubicBezTo>
                    <a:pt x="25" y="0"/>
                    <a:pt x="14" y="4"/>
                    <a:pt x="8" y="7"/>
                  </a:cubicBezTo>
                  <a:cubicBezTo>
                    <a:pt x="2" y="11"/>
                    <a:pt x="0" y="21"/>
                    <a:pt x="0" y="26"/>
                  </a:cubicBezTo>
                  <a:cubicBezTo>
                    <a:pt x="0" y="32"/>
                    <a:pt x="3" y="35"/>
                    <a:pt x="3" y="35"/>
                  </a:cubicBezTo>
                  <a:cubicBezTo>
                    <a:pt x="3" y="35"/>
                    <a:pt x="3" y="26"/>
                    <a:pt x="12" y="24"/>
                  </a:cubicBezTo>
                  <a:cubicBezTo>
                    <a:pt x="20" y="22"/>
                    <a:pt x="25" y="26"/>
                    <a:pt x="25" y="26"/>
                  </a:cubicBezTo>
                  <a:cubicBezTo>
                    <a:pt x="25" y="26"/>
                    <a:pt x="30" y="21"/>
                    <a:pt x="37" y="21"/>
                  </a:cubicBezTo>
                  <a:cubicBezTo>
                    <a:pt x="44" y="20"/>
                    <a:pt x="51" y="26"/>
                    <a:pt x="52" y="36"/>
                  </a:cubicBez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5" name="ï$ľidê">
              <a:extLst>
                <a:ext uri="{FF2B5EF4-FFF2-40B4-BE49-F238E27FC236}">
                  <a16:creationId xmlns:a16="http://schemas.microsoft.com/office/drawing/2014/main" id="{CD5AFA74-75EE-4AB5-8FC2-9166BB7A6B3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22988" y="4021138"/>
              <a:ext cx="55563" cy="114300"/>
            </a:xfrm>
            <a:custGeom>
              <a:avLst/>
              <a:gdLst>
                <a:gd name="T0" fmla="*/ 0 w 10"/>
                <a:gd name="T1" fmla="*/ 3 h 21"/>
                <a:gd name="T2" fmla="*/ 1 w 10"/>
                <a:gd name="T3" fmla="*/ 17 h 21"/>
                <a:gd name="T4" fmla="*/ 6 w 10"/>
                <a:gd name="T5" fmla="*/ 20 h 21"/>
                <a:gd name="T6" fmla="*/ 6 w 10"/>
                <a:gd name="T7" fmla="*/ 20 h 21"/>
                <a:gd name="T8" fmla="*/ 9 w 10"/>
                <a:gd name="T9" fmla="*/ 15 h 21"/>
                <a:gd name="T10" fmla="*/ 5 w 10"/>
                <a:gd name="T11" fmla="*/ 2 h 21"/>
                <a:gd name="T12" fmla="*/ 0 w 10"/>
                <a:gd name="T1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1">
                  <a:moveTo>
                    <a:pt x="0" y="3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2" y="19"/>
                    <a:pt x="4" y="21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0"/>
                    <a:pt x="10" y="17"/>
                    <a:pt x="9" y="15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DD9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6" name="îşḻîďe">
              <a:extLst>
                <a:ext uri="{FF2B5EF4-FFF2-40B4-BE49-F238E27FC236}">
                  <a16:creationId xmlns:a16="http://schemas.microsoft.com/office/drawing/2014/main" id="{B3D7417A-821E-4481-8C5C-78CE8EA1B0C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00725" y="4102101"/>
              <a:ext cx="458788" cy="627063"/>
            </a:xfrm>
            <a:custGeom>
              <a:avLst/>
              <a:gdLst>
                <a:gd name="T0" fmla="*/ 24 w 84"/>
                <a:gd name="T1" fmla="*/ 115 h 115"/>
                <a:gd name="T2" fmla="*/ 71 w 84"/>
                <a:gd name="T3" fmla="*/ 112 h 115"/>
                <a:gd name="T4" fmla="*/ 83 w 84"/>
                <a:gd name="T5" fmla="*/ 97 h 115"/>
                <a:gd name="T6" fmla="*/ 72 w 84"/>
                <a:gd name="T7" fmla="*/ 11 h 115"/>
                <a:gd name="T8" fmla="*/ 59 w 84"/>
                <a:gd name="T9" fmla="*/ 0 h 115"/>
                <a:gd name="T10" fmla="*/ 12 w 84"/>
                <a:gd name="T11" fmla="*/ 4 h 115"/>
                <a:gd name="T12" fmla="*/ 1 w 84"/>
                <a:gd name="T13" fmla="*/ 18 h 115"/>
                <a:gd name="T14" fmla="*/ 11 w 84"/>
                <a:gd name="T15" fmla="*/ 103 h 115"/>
                <a:gd name="T16" fmla="*/ 24 w 84"/>
                <a:gd name="T1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15">
                  <a:moveTo>
                    <a:pt x="24" y="115"/>
                  </a:moveTo>
                  <a:cubicBezTo>
                    <a:pt x="71" y="112"/>
                    <a:pt x="71" y="112"/>
                    <a:pt x="71" y="112"/>
                  </a:cubicBezTo>
                  <a:cubicBezTo>
                    <a:pt x="78" y="111"/>
                    <a:pt x="84" y="105"/>
                    <a:pt x="83" y="97"/>
                  </a:cubicBezTo>
                  <a:cubicBezTo>
                    <a:pt x="72" y="11"/>
                    <a:pt x="72" y="11"/>
                    <a:pt x="72" y="11"/>
                  </a:cubicBezTo>
                  <a:cubicBezTo>
                    <a:pt x="72" y="5"/>
                    <a:pt x="65" y="0"/>
                    <a:pt x="59" y="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5" y="4"/>
                    <a:pt x="0" y="11"/>
                    <a:pt x="1" y="18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1" y="110"/>
                    <a:pt x="17" y="115"/>
                    <a:pt x="24" y="115"/>
                  </a:cubicBezTo>
                </a:path>
              </a:pathLst>
            </a:custGeom>
            <a:solidFill>
              <a:srgbClr val="B9BE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7" name="iṡliḓe">
              <a:extLst>
                <a:ext uri="{FF2B5EF4-FFF2-40B4-BE49-F238E27FC236}">
                  <a16:creationId xmlns:a16="http://schemas.microsoft.com/office/drawing/2014/main" id="{864929DF-CDFE-4B4B-98B7-E9D65F2E86A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38825" y="4162426"/>
              <a:ext cx="360363" cy="490538"/>
            </a:xfrm>
            <a:custGeom>
              <a:avLst/>
              <a:gdLst>
                <a:gd name="T0" fmla="*/ 47 w 66"/>
                <a:gd name="T1" fmla="*/ 0 h 90"/>
                <a:gd name="T2" fmla="*/ 46 w 66"/>
                <a:gd name="T3" fmla="*/ 0 h 90"/>
                <a:gd name="T4" fmla="*/ 10 w 66"/>
                <a:gd name="T5" fmla="*/ 3 h 90"/>
                <a:gd name="T6" fmla="*/ 1 w 66"/>
                <a:gd name="T7" fmla="*/ 14 h 90"/>
                <a:gd name="T8" fmla="*/ 3 w 66"/>
                <a:gd name="T9" fmla="*/ 34 h 90"/>
                <a:gd name="T10" fmla="*/ 17 w 66"/>
                <a:gd name="T11" fmla="*/ 24 h 90"/>
                <a:gd name="T12" fmla="*/ 17 w 66"/>
                <a:gd name="T13" fmla="*/ 24 h 90"/>
                <a:gd name="T14" fmla="*/ 28 w 66"/>
                <a:gd name="T15" fmla="*/ 32 h 90"/>
                <a:gd name="T16" fmla="*/ 28 w 66"/>
                <a:gd name="T17" fmla="*/ 42 h 90"/>
                <a:gd name="T18" fmla="*/ 8 w 66"/>
                <a:gd name="T19" fmla="*/ 76 h 90"/>
                <a:gd name="T20" fmla="*/ 9 w 66"/>
                <a:gd name="T21" fmla="*/ 81 h 90"/>
                <a:gd name="T22" fmla="*/ 19 w 66"/>
                <a:gd name="T23" fmla="*/ 90 h 90"/>
                <a:gd name="T24" fmla="*/ 19 w 66"/>
                <a:gd name="T25" fmla="*/ 90 h 90"/>
                <a:gd name="T26" fmla="*/ 56 w 66"/>
                <a:gd name="T27" fmla="*/ 87 h 90"/>
                <a:gd name="T28" fmla="*/ 65 w 66"/>
                <a:gd name="T29" fmla="*/ 76 h 90"/>
                <a:gd name="T30" fmla="*/ 57 w 66"/>
                <a:gd name="T31" fmla="*/ 9 h 90"/>
                <a:gd name="T32" fmla="*/ 47 w 66"/>
                <a:gd name="T3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90">
                  <a:moveTo>
                    <a:pt x="47" y="0"/>
                  </a:moveTo>
                  <a:cubicBezTo>
                    <a:pt x="47" y="0"/>
                    <a:pt x="47" y="0"/>
                    <a:pt x="46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5" y="3"/>
                    <a:pt x="0" y="8"/>
                    <a:pt x="1" y="1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8" y="30"/>
                    <a:pt x="15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21" y="24"/>
                    <a:pt x="26" y="29"/>
                    <a:pt x="28" y="32"/>
                  </a:cubicBezTo>
                  <a:cubicBezTo>
                    <a:pt x="29" y="34"/>
                    <a:pt x="29" y="38"/>
                    <a:pt x="28" y="42"/>
                  </a:cubicBezTo>
                  <a:cubicBezTo>
                    <a:pt x="32" y="54"/>
                    <a:pt x="17" y="69"/>
                    <a:pt x="8" y="76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86"/>
                    <a:pt x="14" y="90"/>
                    <a:pt x="19" y="90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87"/>
                    <a:pt x="66" y="82"/>
                    <a:pt x="65" y="76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4"/>
                    <a:pt x="52" y="0"/>
                    <a:pt x="47" y="0"/>
                  </a:cubicBezTo>
                </a:path>
              </a:pathLst>
            </a:custGeom>
            <a:solidFill>
              <a:srgbClr val="9EA2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8" name="îṡļîḋê">
              <a:extLst>
                <a:ext uri="{FF2B5EF4-FFF2-40B4-BE49-F238E27FC236}">
                  <a16:creationId xmlns:a16="http://schemas.microsoft.com/office/drawing/2014/main" id="{3E2DC5D9-EF10-481B-AB93-8BE82A3E12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45175" y="4538663"/>
              <a:ext cx="4763" cy="60325"/>
            </a:xfrm>
            <a:custGeom>
              <a:avLst/>
              <a:gdLst>
                <a:gd name="T0" fmla="*/ 0 w 1"/>
                <a:gd name="T1" fmla="*/ 0 h 11"/>
                <a:gd name="T2" fmla="*/ 0 w 1"/>
                <a:gd name="T3" fmla="*/ 0 h 11"/>
                <a:gd name="T4" fmla="*/ 1 w 1"/>
                <a:gd name="T5" fmla="*/ 11 h 11"/>
                <a:gd name="T6" fmla="*/ 1 w 1"/>
                <a:gd name="T7" fmla="*/ 11 h 11"/>
                <a:gd name="T8" fmla="*/ 0 w 1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9" name="iSlïḑé">
              <a:extLst>
                <a:ext uri="{FF2B5EF4-FFF2-40B4-BE49-F238E27FC236}">
                  <a16:creationId xmlns:a16="http://schemas.microsoft.com/office/drawing/2014/main" id="{FAA3F3F9-F75E-4B9D-BAF0-639471AF728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45175" y="4511676"/>
              <a:ext cx="38100" cy="87313"/>
            </a:xfrm>
            <a:custGeom>
              <a:avLst/>
              <a:gdLst>
                <a:gd name="T0" fmla="*/ 6 w 7"/>
                <a:gd name="T1" fmla="*/ 0 h 16"/>
                <a:gd name="T2" fmla="*/ 0 w 7"/>
                <a:gd name="T3" fmla="*/ 5 h 16"/>
                <a:gd name="T4" fmla="*/ 1 w 7"/>
                <a:gd name="T5" fmla="*/ 16 h 16"/>
                <a:gd name="T6" fmla="*/ 7 w 7"/>
                <a:gd name="T7" fmla="*/ 12 h 16"/>
                <a:gd name="T8" fmla="*/ 6 w 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6">
                  <a:moveTo>
                    <a:pt x="6" y="0"/>
                  </a:moveTo>
                  <a:cubicBezTo>
                    <a:pt x="4" y="2"/>
                    <a:pt x="2" y="4"/>
                    <a:pt x="0" y="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4" y="14"/>
                    <a:pt x="7" y="12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9EA2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0" name="išliḓe">
              <a:extLst>
                <a:ext uri="{FF2B5EF4-FFF2-40B4-BE49-F238E27FC236}">
                  <a16:creationId xmlns:a16="http://schemas.microsoft.com/office/drawing/2014/main" id="{C714F29C-372B-4980-8BEF-6E10F71592A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76925" y="4391026"/>
              <a:ext cx="136525" cy="185738"/>
            </a:xfrm>
            <a:custGeom>
              <a:avLst/>
              <a:gdLst>
                <a:gd name="T0" fmla="*/ 21 w 25"/>
                <a:gd name="T1" fmla="*/ 0 h 34"/>
                <a:gd name="T2" fmla="*/ 19 w 25"/>
                <a:gd name="T3" fmla="*/ 4 h 34"/>
                <a:gd name="T4" fmla="*/ 0 w 25"/>
                <a:gd name="T5" fmla="*/ 22 h 34"/>
                <a:gd name="T6" fmla="*/ 1 w 25"/>
                <a:gd name="T7" fmla="*/ 34 h 34"/>
                <a:gd name="T8" fmla="*/ 21 w 25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4">
                  <a:moveTo>
                    <a:pt x="21" y="0"/>
                  </a:moveTo>
                  <a:cubicBezTo>
                    <a:pt x="20" y="1"/>
                    <a:pt x="20" y="3"/>
                    <a:pt x="19" y="4"/>
                  </a:cubicBezTo>
                  <a:cubicBezTo>
                    <a:pt x="17" y="7"/>
                    <a:pt x="8" y="15"/>
                    <a:pt x="0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0" y="27"/>
                    <a:pt x="25" y="12"/>
                    <a:pt x="21" y="0"/>
                  </a:cubicBezTo>
                </a:path>
              </a:pathLst>
            </a:custGeom>
            <a:solidFill>
              <a:srgbClr val="888B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1" name="îṧľíďe">
              <a:extLst>
                <a:ext uri="{FF2B5EF4-FFF2-40B4-BE49-F238E27FC236}">
                  <a16:creationId xmlns:a16="http://schemas.microsoft.com/office/drawing/2014/main" id="{722CBCD2-B0F4-407A-ABC5-9F8B18AE1F6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19763" y="4294188"/>
              <a:ext cx="284163" cy="288925"/>
            </a:xfrm>
            <a:custGeom>
              <a:avLst/>
              <a:gdLst>
                <a:gd name="T0" fmla="*/ 19 w 52"/>
                <a:gd name="T1" fmla="*/ 15 h 53"/>
                <a:gd name="T2" fmla="*/ 18 w 52"/>
                <a:gd name="T3" fmla="*/ 7 h 53"/>
                <a:gd name="T4" fmla="*/ 8 w 52"/>
                <a:gd name="T5" fmla="*/ 19 h 53"/>
                <a:gd name="T6" fmla="*/ 3 w 52"/>
                <a:gd name="T7" fmla="*/ 44 h 53"/>
                <a:gd name="T8" fmla="*/ 14 w 52"/>
                <a:gd name="T9" fmla="*/ 52 h 53"/>
                <a:gd name="T10" fmla="*/ 48 w 52"/>
                <a:gd name="T11" fmla="*/ 22 h 53"/>
                <a:gd name="T12" fmla="*/ 50 w 52"/>
                <a:gd name="T13" fmla="*/ 8 h 53"/>
                <a:gd name="T14" fmla="*/ 39 w 52"/>
                <a:gd name="T15" fmla="*/ 0 h 53"/>
                <a:gd name="T16" fmla="*/ 19 w 52"/>
                <a:gd name="T17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3">
                  <a:moveTo>
                    <a:pt x="19" y="15"/>
                  </a:move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1" y="16"/>
                    <a:pt x="8" y="19"/>
                  </a:cubicBezTo>
                  <a:cubicBezTo>
                    <a:pt x="4" y="23"/>
                    <a:pt x="0" y="40"/>
                    <a:pt x="3" y="44"/>
                  </a:cubicBezTo>
                  <a:cubicBezTo>
                    <a:pt x="6" y="47"/>
                    <a:pt x="10" y="53"/>
                    <a:pt x="14" y="52"/>
                  </a:cubicBezTo>
                  <a:cubicBezTo>
                    <a:pt x="18" y="50"/>
                    <a:pt x="45" y="27"/>
                    <a:pt x="48" y="22"/>
                  </a:cubicBezTo>
                  <a:cubicBezTo>
                    <a:pt x="51" y="17"/>
                    <a:pt x="52" y="11"/>
                    <a:pt x="50" y="8"/>
                  </a:cubicBezTo>
                  <a:cubicBezTo>
                    <a:pt x="48" y="4"/>
                    <a:pt x="42" y="0"/>
                    <a:pt x="39" y="0"/>
                  </a:cubicBezTo>
                  <a:cubicBezTo>
                    <a:pt x="35" y="1"/>
                    <a:pt x="19" y="15"/>
                    <a:pt x="19" y="15"/>
                  </a:cubicBezTo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2" name="îṧḷïdé">
              <a:extLst>
                <a:ext uri="{FF2B5EF4-FFF2-40B4-BE49-F238E27FC236}">
                  <a16:creationId xmlns:a16="http://schemas.microsoft.com/office/drawing/2014/main" id="{72D45B82-2E1D-4893-B409-9CA642053C5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97500" y="4500563"/>
              <a:ext cx="889000" cy="906463"/>
            </a:xfrm>
            <a:custGeom>
              <a:avLst/>
              <a:gdLst>
                <a:gd name="T0" fmla="*/ 151 w 163"/>
                <a:gd name="T1" fmla="*/ 71 h 166"/>
                <a:gd name="T2" fmla="*/ 121 w 163"/>
                <a:gd name="T3" fmla="*/ 73 h 166"/>
                <a:gd name="T4" fmla="*/ 118 w 163"/>
                <a:gd name="T5" fmla="*/ 73 h 166"/>
                <a:gd name="T6" fmla="*/ 111 w 163"/>
                <a:gd name="T7" fmla="*/ 70 h 166"/>
                <a:gd name="T8" fmla="*/ 67 w 163"/>
                <a:gd name="T9" fmla="*/ 11 h 166"/>
                <a:gd name="T10" fmla="*/ 38 w 163"/>
                <a:gd name="T11" fmla="*/ 1 h 166"/>
                <a:gd name="T12" fmla="*/ 13 w 163"/>
                <a:gd name="T13" fmla="*/ 6 h 166"/>
                <a:gd name="T14" fmla="*/ 1 w 163"/>
                <a:gd name="T15" fmla="*/ 41 h 166"/>
                <a:gd name="T16" fmla="*/ 30 w 163"/>
                <a:gd name="T17" fmla="*/ 160 h 166"/>
                <a:gd name="T18" fmla="*/ 54 w 163"/>
                <a:gd name="T19" fmla="*/ 157 h 166"/>
                <a:gd name="T20" fmla="*/ 49 w 163"/>
                <a:gd name="T21" fmla="*/ 56 h 166"/>
                <a:gd name="T22" fmla="*/ 87 w 163"/>
                <a:gd name="T23" fmla="*/ 113 h 166"/>
                <a:gd name="T24" fmla="*/ 134 w 163"/>
                <a:gd name="T25" fmla="*/ 126 h 166"/>
                <a:gd name="T26" fmla="*/ 148 w 163"/>
                <a:gd name="T27" fmla="*/ 127 h 166"/>
                <a:gd name="T28" fmla="*/ 160 w 163"/>
                <a:gd name="T29" fmla="*/ 128 h 166"/>
                <a:gd name="T30" fmla="*/ 151 w 163"/>
                <a:gd name="T31" fmla="*/ 7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3" h="166">
                  <a:moveTo>
                    <a:pt x="151" y="71"/>
                  </a:moveTo>
                  <a:cubicBezTo>
                    <a:pt x="151" y="71"/>
                    <a:pt x="127" y="73"/>
                    <a:pt x="121" y="73"/>
                  </a:cubicBezTo>
                  <a:cubicBezTo>
                    <a:pt x="120" y="72"/>
                    <a:pt x="119" y="72"/>
                    <a:pt x="118" y="73"/>
                  </a:cubicBezTo>
                  <a:cubicBezTo>
                    <a:pt x="115" y="73"/>
                    <a:pt x="114" y="73"/>
                    <a:pt x="111" y="70"/>
                  </a:cubicBezTo>
                  <a:cubicBezTo>
                    <a:pt x="106" y="65"/>
                    <a:pt x="71" y="16"/>
                    <a:pt x="67" y="11"/>
                  </a:cubicBezTo>
                  <a:cubicBezTo>
                    <a:pt x="62" y="7"/>
                    <a:pt x="46" y="2"/>
                    <a:pt x="38" y="1"/>
                  </a:cubicBezTo>
                  <a:cubicBezTo>
                    <a:pt x="30" y="0"/>
                    <a:pt x="15" y="5"/>
                    <a:pt x="13" y="6"/>
                  </a:cubicBezTo>
                  <a:cubicBezTo>
                    <a:pt x="5" y="9"/>
                    <a:pt x="0" y="30"/>
                    <a:pt x="1" y="41"/>
                  </a:cubicBezTo>
                  <a:cubicBezTo>
                    <a:pt x="1" y="48"/>
                    <a:pt x="28" y="154"/>
                    <a:pt x="30" y="160"/>
                  </a:cubicBezTo>
                  <a:cubicBezTo>
                    <a:pt x="30" y="160"/>
                    <a:pt x="42" y="166"/>
                    <a:pt x="54" y="157"/>
                  </a:cubicBezTo>
                  <a:cubicBezTo>
                    <a:pt x="54" y="157"/>
                    <a:pt x="52" y="66"/>
                    <a:pt x="49" y="56"/>
                  </a:cubicBezTo>
                  <a:cubicBezTo>
                    <a:pt x="49" y="56"/>
                    <a:pt x="67" y="93"/>
                    <a:pt x="87" y="113"/>
                  </a:cubicBezTo>
                  <a:cubicBezTo>
                    <a:pt x="107" y="133"/>
                    <a:pt x="127" y="127"/>
                    <a:pt x="134" y="126"/>
                  </a:cubicBezTo>
                  <a:cubicBezTo>
                    <a:pt x="138" y="126"/>
                    <a:pt x="143" y="126"/>
                    <a:pt x="148" y="127"/>
                  </a:cubicBezTo>
                  <a:cubicBezTo>
                    <a:pt x="154" y="127"/>
                    <a:pt x="158" y="128"/>
                    <a:pt x="160" y="128"/>
                  </a:cubicBezTo>
                  <a:cubicBezTo>
                    <a:pt x="163" y="127"/>
                    <a:pt x="151" y="71"/>
                    <a:pt x="151" y="71"/>
                  </a:cubicBezTo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3" name="îṧľîḓè">
              <a:extLst>
                <a:ext uri="{FF2B5EF4-FFF2-40B4-BE49-F238E27FC236}">
                  <a16:creationId xmlns:a16="http://schemas.microsoft.com/office/drawing/2014/main" id="{45755CCD-DB11-426D-9A2E-AF72325F4A6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24488" y="5357813"/>
              <a:ext cx="333375" cy="342900"/>
            </a:xfrm>
            <a:custGeom>
              <a:avLst/>
              <a:gdLst>
                <a:gd name="T0" fmla="*/ 25 w 61"/>
                <a:gd name="T1" fmla="*/ 3 h 63"/>
                <a:gd name="T2" fmla="*/ 16 w 61"/>
                <a:gd name="T3" fmla="*/ 25 h 63"/>
                <a:gd name="T4" fmla="*/ 4 w 61"/>
                <a:gd name="T5" fmla="*/ 50 h 63"/>
                <a:gd name="T6" fmla="*/ 5 w 61"/>
                <a:gd name="T7" fmla="*/ 59 h 63"/>
                <a:gd name="T8" fmla="*/ 18 w 61"/>
                <a:gd name="T9" fmla="*/ 61 h 63"/>
                <a:gd name="T10" fmla="*/ 39 w 61"/>
                <a:gd name="T11" fmla="*/ 41 h 63"/>
                <a:gd name="T12" fmla="*/ 52 w 61"/>
                <a:gd name="T13" fmla="*/ 31 h 63"/>
                <a:gd name="T14" fmla="*/ 61 w 61"/>
                <a:gd name="T15" fmla="*/ 26 h 63"/>
                <a:gd name="T16" fmla="*/ 57 w 61"/>
                <a:gd name="T17" fmla="*/ 10 h 63"/>
                <a:gd name="T18" fmla="*/ 49 w 61"/>
                <a:gd name="T19" fmla="*/ 0 h 63"/>
                <a:gd name="T20" fmla="*/ 25 w 61"/>
                <a:gd name="T21" fmla="*/ 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3">
                  <a:moveTo>
                    <a:pt x="25" y="3"/>
                  </a:moveTo>
                  <a:cubicBezTo>
                    <a:pt x="25" y="3"/>
                    <a:pt x="19" y="18"/>
                    <a:pt x="16" y="25"/>
                  </a:cubicBezTo>
                  <a:cubicBezTo>
                    <a:pt x="12" y="32"/>
                    <a:pt x="7" y="47"/>
                    <a:pt x="4" y="50"/>
                  </a:cubicBezTo>
                  <a:cubicBezTo>
                    <a:pt x="2" y="53"/>
                    <a:pt x="0" y="55"/>
                    <a:pt x="5" y="59"/>
                  </a:cubicBezTo>
                  <a:cubicBezTo>
                    <a:pt x="11" y="63"/>
                    <a:pt x="16" y="62"/>
                    <a:pt x="18" y="61"/>
                  </a:cubicBezTo>
                  <a:cubicBezTo>
                    <a:pt x="21" y="60"/>
                    <a:pt x="33" y="46"/>
                    <a:pt x="39" y="41"/>
                  </a:cubicBezTo>
                  <a:cubicBezTo>
                    <a:pt x="46" y="37"/>
                    <a:pt x="52" y="31"/>
                    <a:pt x="52" y="31"/>
                  </a:cubicBezTo>
                  <a:cubicBezTo>
                    <a:pt x="52" y="31"/>
                    <a:pt x="60" y="30"/>
                    <a:pt x="61" y="26"/>
                  </a:cubicBezTo>
                  <a:cubicBezTo>
                    <a:pt x="61" y="23"/>
                    <a:pt x="58" y="13"/>
                    <a:pt x="57" y="10"/>
                  </a:cubicBezTo>
                  <a:cubicBezTo>
                    <a:pt x="57" y="7"/>
                    <a:pt x="49" y="0"/>
                    <a:pt x="49" y="0"/>
                  </a:cubicBezTo>
                  <a:cubicBezTo>
                    <a:pt x="25" y="3"/>
                    <a:pt x="25" y="3"/>
                    <a:pt x="25" y="3"/>
                  </a:cubicBezTo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4" name="îsḻíďê">
              <a:extLst>
                <a:ext uri="{FF2B5EF4-FFF2-40B4-BE49-F238E27FC236}">
                  <a16:creationId xmlns:a16="http://schemas.microsoft.com/office/drawing/2014/main" id="{3ECD9FDE-BF18-460A-96BB-C5E4AFB207C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11800" y="5357813"/>
              <a:ext cx="179388" cy="136525"/>
            </a:xfrm>
            <a:custGeom>
              <a:avLst/>
              <a:gdLst>
                <a:gd name="T0" fmla="*/ 33 w 33"/>
                <a:gd name="T1" fmla="*/ 0 h 25"/>
                <a:gd name="T2" fmla="*/ 9 w 33"/>
                <a:gd name="T3" fmla="*/ 3 h 25"/>
                <a:gd name="T4" fmla="*/ 0 w 33"/>
                <a:gd name="T5" fmla="*/ 25 h 25"/>
                <a:gd name="T6" fmla="*/ 32 w 33"/>
                <a:gd name="T7" fmla="*/ 4 h 25"/>
                <a:gd name="T8" fmla="*/ 33 w 3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5">
                  <a:moveTo>
                    <a:pt x="33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3" y="18"/>
                    <a:pt x="0" y="25"/>
                  </a:cubicBezTo>
                  <a:cubicBezTo>
                    <a:pt x="0" y="25"/>
                    <a:pt x="20" y="22"/>
                    <a:pt x="32" y="4"/>
                  </a:cubicBezTo>
                  <a:cubicBezTo>
                    <a:pt x="33" y="0"/>
                    <a:pt x="33" y="0"/>
                    <a:pt x="33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5" name="îṧľiḋe">
              <a:extLst>
                <a:ext uri="{FF2B5EF4-FFF2-40B4-BE49-F238E27FC236}">
                  <a16:creationId xmlns:a16="http://schemas.microsoft.com/office/drawing/2014/main" id="{DE1FE297-32BC-486C-92AE-F671AA33CE6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08725" y="5362576"/>
              <a:ext cx="387350" cy="277813"/>
            </a:xfrm>
            <a:custGeom>
              <a:avLst/>
              <a:gdLst>
                <a:gd name="T0" fmla="*/ 1 w 71"/>
                <a:gd name="T1" fmla="*/ 0 h 51"/>
                <a:gd name="T2" fmla="*/ 0 w 71"/>
                <a:gd name="T3" fmla="*/ 6 h 51"/>
                <a:gd name="T4" fmla="*/ 0 w 71"/>
                <a:gd name="T5" fmla="*/ 16 h 51"/>
                <a:gd name="T6" fmla="*/ 2 w 71"/>
                <a:gd name="T7" fmla="*/ 29 h 51"/>
                <a:gd name="T8" fmla="*/ 18 w 71"/>
                <a:gd name="T9" fmla="*/ 31 h 51"/>
                <a:gd name="T10" fmla="*/ 21 w 71"/>
                <a:gd name="T11" fmla="*/ 30 h 51"/>
                <a:gd name="T12" fmla="*/ 35 w 71"/>
                <a:gd name="T13" fmla="*/ 43 h 51"/>
                <a:gd name="T14" fmla="*/ 65 w 71"/>
                <a:gd name="T15" fmla="*/ 50 h 51"/>
                <a:gd name="T16" fmla="*/ 71 w 71"/>
                <a:gd name="T17" fmla="*/ 43 h 51"/>
                <a:gd name="T18" fmla="*/ 51 w 71"/>
                <a:gd name="T19" fmla="*/ 23 h 51"/>
                <a:gd name="T20" fmla="*/ 39 w 71"/>
                <a:gd name="T21" fmla="*/ 11 h 51"/>
                <a:gd name="T22" fmla="*/ 27 w 71"/>
                <a:gd name="T23" fmla="*/ 1 h 51"/>
                <a:gd name="T24" fmla="*/ 1 w 71"/>
                <a:gd name="T2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" h="51">
                  <a:moveTo>
                    <a:pt x="1" y="0"/>
                  </a:moveTo>
                  <a:cubicBezTo>
                    <a:pt x="1" y="0"/>
                    <a:pt x="1" y="3"/>
                    <a:pt x="0" y="6"/>
                  </a:cubicBezTo>
                  <a:cubicBezTo>
                    <a:pt x="0" y="9"/>
                    <a:pt x="0" y="13"/>
                    <a:pt x="0" y="16"/>
                  </a:cubicBezTo>
                  <a:cubicBezTo>
                    <a:pt x="0" y="21"/>
                    <a:pt x="0" y="29"/>
                    <a:pt x="2" y="29"/>
                  </a:cubicBezTo>
                  <a:cubicBezTo>
                    <a:pt x="4" y="29"/>
                    <a:pt x="14" y="32"/>
                    <a:pt x="18" y="31"/>
                  </a:cubicBezTo>
                  <a:cubicBezTo>
                    <a:pt x="21" y="30"/>
                    <a:pt x="17" y="30"/>
                    <a:pt x="21" y="30"/>
                  </a:cubicBezTo>
                  <a:cubicBezTo>
                    <a:pt x="24" y="31"/>
                    <a:pt x="31" y="39"/>
                    <a:pt x="35" y="43"/>
                  </a:cubicBezTo>
                  <a:cubicBezTo>
                    <a:pt x="38" y="47"/>
                    <a:pt x="61" y="51"/>
                    <a:pt x="65" y="50"/>
                  </a:cubicBezTo>
                  <a:cubicBezTo>
                    <a:pt x="68" y="48"/>
                    <a:pt x="71" y="45"/>
                    <a:pt x="71" y="43"/>
                  </a:cubicBezTo>
                  <a:cubicBezTo>
                    <a:pt x="71" y="41"/>
                    <a:pt x="60" y="35"/>
                    <a:pt x="51" y="23"/>
                  </a:cubicBezTo>
                  <a:cubicBezTo>
                    <a:pt x="47" y="19"/>
                    <a:pt x="43" y="15"/>
                    <a:pt x="39" y="11"/>
                  </a:cubicBezTo>
                  <a:cubicBezTo>
                    <a:pt x="33" y="5"/>
                    <a:pt x="27" y="1"/>
                    <a:pt x="27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ïšļiḑê">
              <a:extLst>
                <a:ext uri="{FF2B5EF4-FFF2-40B4-BE49-F238E27FC236}">
                  <a16:creationId xmlns:a16="http://schemas.microsoft.com/office/drawing/2014/main" id="{98935F51-B8C7-452D-BEFE-6111C329A4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08725" y="5362576"/>
              <a:ext cx="212725" cy="65088"/>
            </a:xfrm>
            <a:custGeom>
              <a:avLst/>
              <a:gdLst>
                <a:gd name="T0" fmla="*/ 1 w 39"/>
                <a:gd name="T1" fmla="*/ 0 h 12"/>
                <a:gd name="T2" fmla="*/ 0 w 39"/>
                <a:gd name="T3" fmla="*/ 6 h 12"/>
                <a:gd name="T4" fmla="*/ 27 w 39"/>
                <a:gd name="T5" fmla="*/ 12 h 12"/>
                <a:gd name="T6" fmla="*/ 37 w 39"/>
                <a:gd name="T7" fmla="*/ 12 h 12"/>
                <a:gd name="T8" fmla="*/ 39 w 39"/>
                <a:gd name="T9" fmla="*/ 11 h 12"/>
                <a:gd name="T10" fmla="*/ 29 w 39"/>
                <a:gd name="T11" fmla="*/ 3 h 12"/>
                <a:gd name="T12" fmla="*/ 18 w 39"/>
                <a:gd name="T13" fmla="*/ 6 h 12"/>
                <a:gd name="T14" fmla="*/ 1 w 39"/>
                <a:gd name="T15" fmla="*/ 0 h 12"/>
                <a:gd name="T16" fmla="*/ 1 w 3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12">
                  <a:moveTo>
                    <a:pt x="1" y="0"/>
                  </a:moveTo>
                  <a:cubicBezTo>
                    <a:pt x="1" y="0"/>
                    <a:pt x="1" y="3"/>
                    <a:pt x="0" y="6"/>
                  </a:cubicBezTo>
                  <a:cubicBezTo>
                    <a:pt x="0" y="6"/>
                    <a:pt x="11" y="12"/>
                    <a:pt x="27" y="12"/>
                  </a:cubicBezTo>
                  <a:cubicBezTo>
                    <a:pt x="30" y="12"/>
                    <a:pt x="34" y="12"/>
                    <a:pt x="37" y="1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5" y="7"/>
                    <a:pt x="31" y="5"/>
                    <a:pt x="29" y="3"/>
                  </a:cubicBezTo>
                  <a:cubicBezTo>
                    <a:pt x="25" y="5"/>
                    <a:pt x="22" y="6"/>
                    <a:pt x="18" y="6"/>
                  </a:cubicBezTo>
                  <a:cubicBezTo>
                    <a:pt x="8" y="6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î$ľîdé">
              <a:extLst>
                <a:ext uri="{FF2B5EF4-FFF2-40B4-BE49-F238E27FC236}">
                  <a16:creationId xmlns:a16="http://schemas.microsoft.com/office/drawing/2014/main" id="{64C9C587-734E-4E3B-B9CD-7D307AFBEF0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88075" y="4648201"/>
              <a:ext cx="312738" cy="774700"/>
            </a:xfrm>
            <a:custGeom>
              <a:avLst/>
              <a:gdLst>
                <a:gd name="T0" fmla="*/ 20 w 57"/>
                <a:gd name="T1" fmla="*/ 2 h 142"/>
                <a:gd name="T2" fmla="*/ 7 w 57"/>
                <a:gd name="T3" fmla="*/ 4 h 142"/>
                <a:gd name="T4" fmla="*/ 0 w 57"/>
                <a:gd name="T5" fmla="*/ 28 h 142"/>
                <a:gd name="T6" fmla="*/ 23 w 57"/>
                <a:gd name="T7" fmla="*/ 131 h 142"/>
                <a:gd name="T8" fmla="*/ 51 w 57"/>
                <a:gd name="T9" fmla="*/ 134 h 142"/>
                <a:gd name="T10" fmla="*/ 51 w 57"/>
                <a:gd name="T11" fmla="*/ 103 h 142"/>
                <a:gd name="T12" fmla="*/ 57 w 57"/>
                <a:gd name="T13" fmla="*/ 39 h 142"/>
                <a:gd name="T14" fmla="*/ 35 w 57"/>
                <a:gd name="T15" fmla="*/ 1 h 142"/>
                <a:gd name="T16" fmla="*/ 20 w 57"/>
                <a:gd name="T17" fmla="*/ 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142">
                  <a:moveTo>
                    <a:pt x="20" y="2"/>
                  </a:moveTo>
                  <a:cubicBezTo>
                    <a:pt x="20" y="2"/>
                    <a:pt x="12" y="2"/>
                    <a:pt x="7" y="4"/>
                  </a:cubicBezTo>
                  <a:cubicBezTo>
                    <a:pt x="3" y="6"/>
                    <a:pt x="0" y="19"/>
                    <a:pt x="0" y="28"/>
                  </a:cubicBezTo>
                  <a:cubicBezTo>
                    <a:pt x="0" y="37"/>
                    <a:pt x="13" y="108"/>
                    <a:pt x="23" y="131"/>
                  </a:cubicBezTo>
                  <a:cubicBezTo>
                    <a:pt x="23" y="131"/>
                    <a:pt x="37" y="142"/>
                    <a:pt x="51" y="134"/>
                  </a:cubicBezTo>
                  <a:cubicBezTo>
                    <a:pt x="51" y="134"/>
                    <a:pt x="50" y="112"/>
                    <a:pt x="51" y="103"/>
                  </a:cubicBezTo>
                  <a:cubicBezTo>
                    <a:pt x="53" y="93"/>
                    <a:pt x="57" y="50"/>
                    <a:pt x="57" y="39"/>
                  </a:cubicBezTo>
                  <a:cubicBezTo>
                    <a:pt x="57" y="28"/>
                    <a:pt x="45" y="2"/>
                    <a:pt x="35" y="1"/>
                  </a:cubicBezTo>
                  <a:cubicBezTo>
                    <a:pt x="26" y="0"/>
                    <a:pt x="23" y="1"/>
                    <a:pt x="20" y="2"/>
                  </a:cubicBezTo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ṡḻîḍé">
              <a:extLst>
                <a:ext uri="{FF2B5EF4-FFF2-40B4-BE49-F238E27FC236}">
                  <a16:creationId xmlns:a16="http://schemas.microsoft.com/office/drawing/2014/main" id="{D329EFE6-4594-4E88-8F71-1DF1E489CDD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10300" y="4314826"/>
              <a:ext cx="454025" cy="638175"/>
            </a:xfrm>
            <a:custGeom>
              <a:avLst/>
              <a:gdLst>
                <a:gd name="T0" fmla="*/ 0 w 83"/>
                <a:gd name="T1" fmla="*/ 0 h 117"/>
                <a:gd name="T2" fmla="*/ 8 w 83"/>
                <a:gd name="T3" fmla="*/ 7 h 117"/>
                <a:gd name="T4" fmla="*/ 21 w 83"/>
                <a:gd name="T5" fmla="*/ 5 h 117"/>
                <a:gd name="T6" fmla="*/ 34 w 83"/>
                <a:gd name="T7" fmla="*/ 26 h 117"/>
                <a:gd name="T8" fmla="*/ 38 w 83"/>
                <a:gd name="T9" fmla="*/ 42 h 117"/>
                <a:gd name="T10" fmla="*/ 71 w 83"/>
                <a:gd name="T11" fmla="*/ 74 h 117"/>
                <a:gd name="T12" fmla="*/ 76 w 83"/>
                <a:gd name="T13" fmla="*/ 104 h 117"/>
                <a:gd name="T14" fmla="*/ 55 w 83"/>
                <a:gd name="T15" fmla="*/ 114 h 117"/>
                <a:gd name="T16" fmla="*/ 39 w 83"/>
                <a:gd name="T17" fmla="*/ 88 h 117"/>
                <a:gd name="T18" fmla="*/ 22 w 83"/>
                <a:gd name="T19" fmla="*/ 41 h 117"/>
                <a:gd name="T20" fmla="*/ 11 w 83"/>
                <a:gd name="T21" fmla="*/ 28 h 117"/>
                <a:gd name="T22" fmla="*/ 4 w 83"/>
                <a:gd name="T23" fmla="*/ 31 h 117"/>
                <a:gd name="T24" fmla="*/ 0 w 83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117">
                  <a:moveTo>
                    <a:pt x="0" y="0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16" y="3"/>
                    <a:pt x="21" y="5"/>
                  </a:cubicBezTo>
                  <a:cubicBezTo>
                    <a:pt x="26" y="7"/>
                    <a:pt x="33" y="21"/>
                    <a:pt x="34" y="26"/>
                  </a:cubicBezTo>
                  <a:cubicBezTo>
                    <a:pt x="36" y="30"/>
                    <a:pt x="36" y="38"/>
                    <a:pt x="38" y="42"/>
                  </a:cubicBezTo>
                  <a:cubicBezTo>
                    <a:pt x="40" y="45"/>
                    <a:pt x="69" y="70"/>
                    <a:pt x="71" y="74"/>
                  </a:cubicBezTo>
                  <a:cubicBezTo>
                    <a:pt x="74" y="79"/>
                    <a:pt x="83" y="96"/>
                    <a:pt x="76" y="104"/>
                  </a:cubicBezTo>
                  <a:cubicBezTo>
                    <a:pt x="70" y="112"/>
                    <a:pt x="61" y="117"/>
                    <a:pt x="55" y="114"/>
                  </a:cubicBezTo>
                  <a:cubicBezTo>
                    <a:pt x="49" y="111"/>
                    <a:pt x="42" y="102"/>
                    <a:pt x="39" y="88"/>
                  </a:cubicBezTo>
                  <a:cubicBezTo>
                    <a:pt x="36" y="75"/>
                    <a:pt x="25" y="45"/>
                    <a:pt x="22" y="41"/>
                  </a:cubicBezTo>
                  <a:cubicBezTo>
                    <a:pt x="18" y="36"/>
                    <a:pt x="11" y="28"/>
                    <a:pt x="11" y="28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iṣ1ïḑé">
              <a:extLst>
                <a:ext uri="{FF2B5EF4-FFF2-40B4-BE49-F238E27FC236}">
                  <a16:creationId xmlns:a16="http://schemas.microsoft.com/office/drawing/2014/main" id="{4C04BC88-5B92-4EF5-8466-87848EC7D00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23025" y="4795838"/>
              <a:ext cx="203200" cy="146050"/>
            </a:xfrm>
            <a:custGeom>
              <a:avLst/>
              <a:gdLst>
                <a:gd name="T0" fmla="*/ 0 w 37"/>
                <a:gd name="T1" fmla="*/ 0 h 27"/>
                <a:gd name="T2" fmla="*/ 16 w 37"/>
                <a:gd name="T3" fmla="*/ 26 h 27"/>
                <a:gd name="T4" fmla="*/ 20 w 37"/>
                <a:gd name="T5" fmla="*/ 27 h 27"/>
                <a:gd name="T6" fmla="*/ 37 w 37"/>
                <a:gd name="T7" fmla="*/ 16 h 27"/>
                <a:gd name="T8" fmla="*/ 23 w 37"/>
                <a:gd name="T9" fmla="*/ 20 h 27"/>
                <a:gd name="T10" fmla="*/ 21 w 37"/>
                <a:gd name="T11" fmla="*/ 20 h 27"/>
                <a:gd name="T12" fmla="*/ 0 w 37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7">
                  <a:moveTo>
                    <a:pt x="0" y="0"/>
                  </a:moveTo>
                  <a:cubicBezTo>
                    <a:pt x="3" y="14"/>
                    <a:pt x="10" y="23"/>
                    <a:pt x="16" y="26"/>
                  </a:cubicBezTo>
                  <a:cubicBezTo>
                    <a:pt x="17" y="27"/>
                    <a:pt x="18" y="27"/>
                    <a:pt x="20" y="27"/>
                  </a:cubicBezTo>
                  <a:cubicBezTo>
                    <a:pt x="25" y="27"/>
                    <a:pt x="32" y="22"/>
                    <a:pt x="37" y="16"/>
                  </a:cubicBezTo>
                  <a:cubicBezTo>
                    <a:pt x="37" y="16"/>
                    <a:pt x="35" y="18"/>
                    <a:pt x="23" y="20"/>
                  </a:cubicBezTo>
                  <a:cubicBezTo>
                    <a:pt x="22" y="20"/>
                    <a:pt x="22" y="20"/>
                    <a:pt x="21" y="20"/>
                  </a:cubicBezTo>
                  <a:cubicBezTo>
                    <a:pt x="10" y="20"/>
                    <a:pt x="0" y="0"/>
                    <a:pt x="0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ísḻíḓe">
              <a:extLst>
                <a:ext uri="{FF2B5EF4-FFF2-40B4-BE49-F238E27FC236}">
                  <a16:creationId xmlns:a16="http://schemas.microsoft.com/office/drawing/2014/main" id="{73E61D46-2FC8-4126-A3E3-6022EE4153D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70625" y="4391026"/>
              <a:ext cx="103188" cy="109538"/>
            </a:xfrm>
            <a:custGeom>
              <a:avLst/>
              <a:gdLst>
                <a:gd name="T0" fmla="*/ 10 w 19"/>
                <a:gd name="T1" fmla="*/ 0 h 20"/>
                <a:gd name="T2" fmla="*/ 10 w 19"/>
                <a:gd name="T3" fmla="*/ 9 h 20"/>
                <a:gd name="T4" fmla="*/ 0 w 19"/>
                <a:gd name="T5" fmla="*/ 14 h 20"/>
                <a:gd name="T6" fmla="*/ 6 w 19"/>
                <a:gd name="T7" fmla="*/ 20 h 20"/>
                <a:gd name="T8" fmla="*/ 15 w 19"/>
                <a:gd name="T9" fmla="*/ 16 h 20"/>
                <a:gd name="T10" fmla="*/ 10 w 19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0">
                  <a:moveTo>
                    <a:pt x="10" y="0"/>
                  </a:moveTo>
                  <a:cubicBezTo>
                    <a:pt x="10" y="0"/>
                    <a:pt x="10" y="6"/>
                    <a:pt x="10" y="9"/>
                  </a:cubicBezTo>
                  <a:cubicBezTo>
                    <a:pt x="9" y="12"/>
                    <a:pt x="0" y="14"/>
                    <a:pt x="0" y="14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12" y="18"/>
                    <a:pt x="15" y="16"/>
                  </a:cubicBezTo>
                  <a:cubicBezTo>
                    <a:pt x="19" y="14"/>
                    <a:pt x="10" y="0"/>
                    <a:pt x="10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îṡľîďè">
              <a:extLst>
                <a:ext uri="{FF2B5EF4-FFF2-40B4-BE49-F238E27FC236}">
                  <a16:creationId xmlns:a16="http://schemas.microsoft.com/office/drawing/2014/main" id="{2387C600-9250-469B-B12F-96EFE21C752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9613" y="4348163"/>
              <a:ext cx="33338" cy="53975"/>
            </a:xfrm>
            <a:custGeom>
              <a:avLst/>
              <a:gdLst>
                <a:gd name="T0" fmla="*/ 21 w 21"/>
                <a:gd name="T1" fmla="*/ 0 h 34"/>
                <a:gd name="T2" fmla="*/ 0 w 21"/>
                <a:gd name="T3" fmla="*/ 34 h 34"/>
                <a:gd name="T4" fmla="*/ 21 w 21"/>
                <a:gd name="T5" fmla="*/ 17 h 34"/>
                <a:gd name="T6" fmla="*/ 21 w 21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4">
                  <a:moveTo>
                    <a:pt x="21" y="0"/>
                  </a:moveTo>
                  <a:lnTo>
                    <a:pt x="0" y="34"/>
                  </a:lnTo>
                  <a:lnTo>
                    <a:pt x="21" y="17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iṩlîďè">
              <a:extLst>
                <a:ext uri="{FF2B5EF4-FFF2-40B4-BE49-F238E27FC236}">
                  <a16:creationId xmlns:a16="http://schemas.microsoft.com/office/drawing/2014/main" id="{D6746DD7-6FFE-4864-AA3F-532565E56B4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9613" y="4348163"/>
              <a:ext cx="33338" cy="53975"/>
            </a:xfrm>
            <a:custGeom>
              <a:avLst/>
              <a:gdLst>
                <a:gd name="T0" fmla="*/ 21 w 21"/>
                <a:gd name="T1" fmla="*/ 0 h 34"/>
                <a:gd name="T2" fmla="*/ 0 w 21"/>
                <a:gd name="T3" fmla="*/ 34 h 34"/>
                <a:gd name="T4" fmla="*/ 21 w 21"/>
                <a:gd name="T5" fmla="*/ 17 h 34"/>
                <a:gd name="T6" fmla="*/ 21 w 21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4">
                  <a:moveTo>
                    <a:pt x="21" y="0"/>
                  </a:moveTo>
                  <a:lnTo>
                    <a:pt x="0" y="34"/>
                  </a:lnTo>
                  <a:lnTo>
                    <a:pt x="21" y="17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703038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" dur="2000" fill="hold"/>
                                        <p:tgtEl>
                                          <p:spTgt spid="1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2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24" grpId="0" build="p"/>
      <p:bldP spid="12" grpId="0" build="p"/>
    </p:bldLst>
  </p:timing>
</p:sld>
</file>

<file path=ppt/slides/slide3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1"/>
          </p:nvPr>
        </p:nvSpPr>
        <p:spPr/>
        <p:txBody>
          <a:bodyPr/>
          <a:lstStyle/>
          <a:p>
            <a:r>
              <a:rPr kumimoji="1" lang="en-US" altLang="zh-CN"/>
              <a:t>if-else</a:t>
            </a:r>
            <a:r>
              <a:rPr kumimoji="1" lang="zh-CN" altLang="en-US"/>
              <a:t>语句</a:t>
            </a:r>
          </a:p>
        </p:txBody>
      </p:sp>
      <p:sp>
        <p:nvSpPr>
          <p:cNvPr id="3" name="内容占位符 2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0"/>
          </p:nvPr>
        </p:nvSpPr>
        <p:spPr>
          <a:xfrm>
            <a:off x="766760" y="1197000"/>
            <a:ext cx="3689491" cy="43541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if</a:t>
            </a: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判断条件</a:t>
            </a:r>
            <a:r>
              <a:rPr kumimoji="1" lang="zh-CN" altLang="en-US" b="0" dirty="0" smtClean="0">
                <a:solidFill>
                  <a:schemeClr val="accent5"/>
                </a:solidFill>
                <a:latin typeface="+mn-ea"/>
                <a:ea typeface="+mn-ea"/>
              </a:rPr>
              <a:t>为</a:t>
            </a: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假</a:t>
            </a:r>
            <a:r>
              <a:rPr kumimoji="1" lang="en-US" altLang="zh-CN" b="0" dirty="0" smtClean="0">
                <a:solidFill>
                  <a:schemeClr val="accent5"/>
                </a:solidFill>
                <a:latin typeface="+mn-ea"/>
                <a:ea typeface="+mn-ea"/>
              </a:rPr>
              <a:t>: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124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1671851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   语句块</a:t>
            </a: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1</a:t>
            </a:r>
          </a:p>
        </p:txBody>
      </p:sp>
      <p:sp>
        <p:nvSpPr>
          <p:cNvPr id="125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2146702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elif</a:t>
            </a: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判断条件为真</a:t>
            </a:r>
            <a:r>
              <a:rPr kumimoji="1" lang="en-US" altLang="zh-CN" b="0" dirty="0" smtClean="0">
                <a:solidFill>
                  <a:schemeClr val="accent5"/>
                </a:solidFill>
                <a:latin typeface="+mn-ea"/>
                <a:ea typeface="+mn-ea"/>
              </a:rPr>
              <a:t>: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126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2621553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   语句块</a:t>
            </a: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2</a:t>
            </a:r>
          </a:p>
        </p:txBody>
      </p:sp>
      <p:sp>
        <p:nvSpPr>
          <p:cNvPr id="127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3096404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elif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 判断条件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:</a:t>
            </a:r>
          </a:p>
        </p:txBody>
      </p:sp>
      <p:sp>
        <p:nvSpPr>
          <p:cNvPr id="128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3571255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</a:rPr>
              <a:t>    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语句块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3</a:t>
            </a:r>
          </a:p>
        </p:txBody>
      </p:sp>
      <p:sp>
        <p:nvSpPr>
          <p:cNvPr id="13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4046106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...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...</a:t>
            </a:r>
          </a:p>
        </p:txBody>
      </p:sp>
      <p:sp>
        <p:nvSpPr>
          <p:cNvPr id="15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4520957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else:</a:t>
            </a:r>
          </a:p>
        </p:txBody>
      </p:sp>
      <p:sp>
        <p:nvSpPr>
          <p:cNvPr id="16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4995808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</a:rPr>
              <a:t>    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语句块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n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12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59" y="5516959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其他语句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grpSp>
        <p:nvGrpSpPr>
          <p:cNvPr id="14" name="组合 1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Grp="1" noUngrp="1" noSelect="1" noRot="1" noChangeAspect="1" noMove="1" noResize="1"/>
          </p:cNvGrpSpPr>
          <p:nvPr/>
        </p:nvGrpSpPr>
        <p:grpSpPr>
          <a:xfrm>
            <a:off x="4456250" y="513000"/>
            <a:ext cx="6782292" cy="5978510"/>
            <a:chOff x="3436938" y="1101726"/>
            <a:chExt cx="5291138" cy="4664075"/>
          </a:xfrm>
        </p:grpSpPr>
        <p:sp>
          <p:nvSpPr>
            <p:cNvPr id="17" name="iṥļïďê">
              <a:extLst>
                <a:ext uri="{FF2B5EF4-FFF2-40B4-BE49-F238E27FC236}">
                  <a16:creationId xmlns:a16="http://schemas.microsoft.com/office/drawing/2014/main" id="{31B18AB6-AE12-4DA6-B127-54A550FED46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80163" y="1428751"/>
              <a:ext cx="1222375" cy="966788"/>
            </a:xfrm>
            <a:prstGeom prst="ellipse">
              <a:avLst/>
            </a:pr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ṧḻíḓé">
              <a:extLst>
                <a:ext uri="{FF2B5EF4-FFF2-40B4-BE49-F238E27FC236}">
                  <a16:creationId xmlns:a16="http://schemas.microsoft.com/office/drawing/2014/main" id="{6A81FD2B-147F-4E11-9937-19B2C8027AE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41775" y="5100638"/>
              <a:ext cx="4227513" cy="665163"/>
            </a:xfrm>
            <a:custGeom>
              <a:avLst/>
              <a:gdLst>
                <a:gd name="T0" fmla="*/ 332 w 774"/>
                <a:gd name="T1" fmla="*/ 0 h 122"/>
                <a:gd name="T2" fmla="*/ 301 w 774"/>
                <a:gd name="T3" fmla="*/ 1 h 122"/>
                <a:gd name="T4" fmla="*/ 302 w 774"/>
                <a:gd name="T5" fmla="*/ 47 h 122"/>
                <a:gd name="T6" fmla="*/ 302 w 774"/>
                <a:gd name="T7" fmla="*/ 47 h 122"/>
                <a:gd name="T8" fmla="*/ 302 w 774"/>
                <a:gd name="T9" fmla="*/ 47 h 122"/>
                <a:gd name="T10" fmla="*/ 310 w 774"/>
                <a:gd name="T11" fmla="*/ 57 h 122"/>
                <a:gd name="T12" fmla="*/ 314 w 774"/>
                <a:gd name="T13" fmla="*/ 73 h 122"/>
                <a:gd name="T14" fmla="*/ 305 w 774"/>
                <a:gd name="T15" fmla="*/ 78 h 122"/>
                <a:gd name="T16" fmla="*/ 292 w 774"/>
                <a:gd name="T17" fmla="*/ 88 h 122"/>
                <a:gd name="T18" fmla="*/ 271 w 774"/>
                <a:gd name="T19" fmla="*/ 108 h 122"/>
                <a:gd name="T20" fmla="*/ 266 w 774"/>
                <a:gd name="T21" fmla="*/ 109 h 122"/>
                <a:gd name="T22" fmla="*/ 258 w 774"/>
                <a:gd name="T23" fmla="*/ 106 h 122"/>
                <a:gd name="T24" fmla="*/ 257 w 774"/>
                <a:gd name="T25" fmla="*/ 97 h 122"/>
                <a:gd name="T26" fmla="*/ 269 w 774"/>
                <a:gd name="T27" fmla="*/ 72 h 122"/>
                <a:gd name="T28" fmla="*/ 269 w 774"/>
                <a:gd name="T29" fmla="*/ 72 h 122"/>
                <a:gd name="T30" fmla="*/ 269 w 774"/>
                <a:gd name="T31" fmla="*/ 72 h 122"/>
                <a:gd name="T32" fmla="*/ 278 w 774"/>
                <a:gd name="T33" fmla="*/ 50 h 122"/>
                <a:gd name="T34" fmla="*/ 266 w 774"/>
                <a:gd name="T35" fmla="*/ 2 h 122"/>
                <a:gd name="T36" fmla="*/ 0 w 774"/>
                <a:gd name="T37" fmla="*/ 61 h 122"/>
                <a:gd name="T38" fmla="*/ 387 w 774"/>
                <a:gd name="T39" fmla="*/ 122 h 122"/>
                <a:gd name="T40" fmla="*/ 774 w 774"/>
                <a:gd name="T41" fmla="*/ 61 h 122"/>
                <a:gd name="T42" fmla="*/ 710 w 774"/>
                <a:gd name="T43" fmla="*/ 27 h 122"/>
                <a:gd name="T44" fmla="*/ 654 w 774"/>
                <a:gd name="T45" fmla="*/ 41 h 122"/>
                <a:gd name="T46" fmla="*/ 550 w 774"/>
                <a:gd name="T47" fmla="*/ 5 h 122"/>
                <a:gd name="T48" fmla="*/ 447 w 774"/>
                <a:gd name="T49" fmla="*/ 0 h 122"/>
                <a:gd name="T50" fmla="*/ 444 w 774"/>
                <a:gd name="T51" fmla="*/ 20 h 122"/>
                <a:gd name="T52" fmla="*/ 444 w 774"/>
                <a:gd name="T53" fmla="*/ 51 h 122"/>
                <a:gd name="T54" fmla="*/ 444 w 774"/>
                <a:gd name="T55" fmla="*/ 51 h 122"/>
                <a:gd name="T56" fmla="*/ 454 w 774"/>
                <a:gd name="T57" fmla="*/ 59 h 122"/>
                <a:gd name="T58" fmla="*/ 454 w 774"/>
                <a:gd name="T59" fmla="*/ 59 h 122"/>
                <a:gd name="T60" fmla="*/ 454 w 774"/>
                <a:gd name="T61" fmla="*/ 59 h 122"/>
                <a:gd name="T62" fmla="*/ 466 w 774"/>
                <a:gd name="T63" fmla="*/ 71 h 122"/>
                <a:gd name="T64" fmla="*/ 486 w 774"/>
                <a:gd name="T65" fmla="*/ 91 h 122"/>
                <a:gd name="T66" fmla="*/ 480 w 774"/>
                <a:gd name="T67" fmla="*/ 98 h 122"/>
                <a:gd name="T68" fmla="*/ 477 w 774"/>
                <a:gd name="T69" fmla="*/ 98 h 122"/>
                <a:gd name="T70" fmla="*/ 450 w 774"/>
                <a:gd name="T71" fmla="*/ 91 h 122"/>
                <a:gd name="T72" fmla="*/ 436 w 774"/>
                <a:gd name="T73" fmla="*/ 78 h 122"/>
                <a:gd name="T74" fmla="*/ 434 w 774"/>
                <a:gd name="T75" fmla="*/ 78 h 122"/>
                <a:gd name="T76" fmla="*/ 433 w 774"/>
                <a:gd name="T77" fmla="*/ 79 h 122"/>
                <a:gd name="T78" fmla="*/ 431 w 774"/>
                <a:gd name="T79" fmla="*/ 79 h 122"/>
                <a:gd name="T80" fmla="*/ 417 w 774"/>
                <a:gd name="T81" fmla="*/ 77 h 122"/>
                <a:gd name="T82" fmla="*/ 415 w 774"/>
                <a:gd name="T83" fmla="*/ 64 h 122"/>
                <a:gd name="T84" fmla="*/ 415 w 774"/>
                <a:gd name="T85" fmla="*/ 54 h 122"/>
                <a:gd name="T86" fmla="*/ 415 w 774"/>
                <a:gd name="T87" fmla="*/ 54 h 122"/>
                <a:gd name="T88" fmla="*/ 415 w 774"/>
                <a:gd name="T89" fmla="*/ 54 h 122"/>
                <a:gd name="T90" fmla="*/ 416 w 774"/>
                <a:gd name="T91" fmla="*/ 48 h 122"/>
                <a:gd name="T92" fmla="*/ 416 w 774"/>
                <a:gd name="T93" fmla="*/ 48 h 122"/>
                <a:gd name="T94" fmla="*/ 416 w 774"/>
                <a:gd name="T95" fmla="*/ 48 h 122"/>
                <a:gd name="T96" fmla="*/ 407 w 774"/>
                <a:gd name="T97" fmla="*/ 18 h 122"/>
                <a:gd name="T98" fmla="*/ 407 w 774"/>
                <a:gd name="T99" fmla="*/ 18 h 122"/>
                <a:gd name="T100" fmla="*/ 396 w 774"/>
                <a:gd name="T101" fmla="*/ 17 h 122"/>
                <a:gd name="T102" fmla="*/ 384 w 774"/>
                <a:gd name="T103" fmla="*/ 16 h 122"/>
                <a:gd name="T104" fmla="*/ 382 w 774"/>
                <a:gd name="T105" fmla="*/ 16 h 122"/>
                <a:gd name="T106" fmla="*/ 369 w 774"/>
                <a:gd name="T107" fmla="*/ 17 h 122"/>
                <a:gd name="T108" fmla="*/ 335 w 774"/>
                <a:gd name="T109" fmla="*/ 3 h 122"/>
                <a:gd name="T110" fmla="*/ 332 w 774"/>
                <a:gd name="T11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74" h="122">
                  <a:moveTo>
                    <a:pt x="332" y="0"/>
                  </a:moveTo>
                  <a:cubicBezTo>
                    <a:pt x="322" y="0"/>
                    <a:pt x="311" y="0"/>
                    <a:pt x="301" y="1"/>
                  </a:cubicBezTo>
                  <a:cubicBezTo>
                    <a:pt x="302" y="25"/>
                    <a:pt x="302" y="47"/>
                    <a:pt x="302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7"/>
                    <a:pt x="310" y="54"/>
                    <a:pt x="310" y="57"/>
                  </a:cubicBezTo>
                  <a:cubicBezTo>
                    <a:pt x="311" y="60"/>
                    <a:pt x="314" y="70"/>
                    <a:pt x="314" y="73"/>
                  </a:cubicBezTo>
                  <a:cubicBezTo>
                    <a:pt x="313" y="77"/>
                    <a:pt x="305" y="78"/>
                    <a:pt x="305" y="78"/>
                  </a:cubicBezTo>
                  <a:cubicBezTo>
                    <a:pt x="305" y="78"/>
                    <a:pt x="299" y="84"/>
                    <a:pt x="292" y="88"/>
                  </a:cubicBezTo>
                  <a:cubicBezTo>
                    <a:pt x="286" y="93"/>
                    <a:pt x="274" y="107"/>
                    <a:pt x="271" y="108"/>
                  </a:cubicBezTo>
                  <a:cubicBezTo>
                    <a:pt x="270" y="108"/>
                    <a:pt x="268" y="109"/>
                    <a:pt x="266" y="109"/>
                  </a:cubicBezTo>
                  <a:cubicBezTo>
                    <a:pt x="264" y="109"/>
                    <a:pt x="261" y="108"/>
                    <a:pt x="258" y="106"/>
                  </a:cubicBezTo>
                  <a:cubicBezTo>
                    <a:pt x="253" y="102"/>
                    <a:pt x="255" y="100"/>
                    <a:pt x="257" y="97"/>
                  </a:cubicBezTo>
                  <a:cubicBezTo>
                    <a:pt x="260" y="94"/>
                    <a:pt x="265" y="79"/>
                    <a:pt x="269" y="72"/>
                  </a:cubicBezTo>
                  <a:cubicBezTo>
                    <a:pt x="269" y="72"/>
                    <a:pt x="269" y="72"/>
                    <a:pt x="269" y="72"/>
                  </a:cubicBezTo>
                  <a:cubicBezTo>
                    <a:pt x="269" y="72"/>
                    <a:pt x="269" y="72"/>
                    <a:pt x="269" y="72"/>
                  </a:cubicBezTo>
                  <a:cubicBezTo>
                    <a:pt x="272" y="65"/>
                    <a:pt x="278" y="50"/>
                    <a:pt x="278" y="50"/>
                  </a:cubicBezTo>
                  <a:cubicBezTo>
                    <a:pt x="277" y="48"/>
                    <a:pt x="272" y="26"/>
                    <a:pt x="266" y="2"/>
                  </a:cubicBezTo>
                  <a:cubicBezTo>
                    <a:pt x="111" y="10"/>
                    <a:pt x="0" y="33"/>
                    <a:pt x="0" y="61"/>
                  </a:cubicBezTo>
                  <a:cubicBezTo>
                    <a:pt x="0" y="95"/>
                    <a:pt x="173" y="122"/>
                    <a:pt x="387" y="122"/>
                  </a:cubicBezTo>
                  <a:cubicBezTo>
                    <a:pt x="600" y="122"/>
                    <a:pt x="774" y="95"/>
                    <a:pt x="774" y="61"/>
                  </a:cubicBezTo>
                  <a:cubicBezTo>
                    <a:pt x="774" y="48"/>
                    <a:pt x="750" y="37"/>
                    <a:pt x="710" y="27"/>
                  </a:cubicBezTo>
                  <a:cubicBezTo>
                    <a:pt x="695" y="37"/>
                    <a:pt x="675" y="41"/>
                    <a:pt x="654" y="41"/>
                  </a:cubicBezTo>
                  <a:cubicBezTo>
                    <a:pt x="621" y="41"/>
                    <a:pt x="583" y="29"/>
                    <a:pt x="550" y="5"/>
                  </a:cubicBezTo>
                  <a:cubicBezTo>
                    <a:pt x="518" y="3"/>
                    <a:pt x="483" y="1"/>
                    <a:pt x="447" y="0"/>
                  </a:cubicBezTo>
                  <a:cubicBezTo>
                    <a:pt x="446" y="9"/>
                    <a:pt x="445" y="16"/>
                    <a:pt x="444" y="20"/>
                  </a:cubicBezTo>
                  <a:cubicBezTo>
                    <a:pt x="443" y="29"/>
                    <a:pt x="444" y="51"/>
                    <a:pt x="444" y="51"/>
                  </a:cubicBezTo>
                  <a:cubicBezTo>
                    <a:pt x="444" y="51"/>
                    <a:pt x="444" y="51"/>
                    <a:pt x="444" y="51"/>
                  </a:cubicBezTo>
                  <a:cubicBezTo>
                    <a:pt x="446" y="53"/>
                    <a:pt x="450" y="55"/>
                    <a:pt x="454" y="59"/>
                  </a:cubicBezTo>
                  <a:cubicBezTo>
                    <a:pt x="454" y="59"/>
                    <a:pt x="454" y="59"/>
                    <a:pt x="454" y="59"/>
                  </a:cubicBezTo>
                  <a:cubicBezTo>
                    <a:pt x="454" y="59"/>
                    <a:pt x="454" y="59"/>
                    <a:pt x="454" y="59"/>
                  </a:cubicBezTo>
                  <a:cubicBezTo>
                    <a:pt x="458" y="63"/>
                    <a:pt x="462" y="67"/>
                    <a:pt x="466" y="71"/>
                  </a:cubicBezTo>
                  <a:cubicBezTo>
                    <a:pt x="475" y="83"/>
                    <a:pt x="486" y="89"/>
                    <a:pt x="486" y="91"/>
                  </a:cubicBezTo>
                  <a:cubicBezTo>
                    <a:pt x="486" y="93"/>
                    <a:pt x="483" y="96"/>
                    <a:pt x="480" y="98"/>
                  </a:cubicBezTo>
                  <a:cubicBezTo>
                    <a:pt x="479" y="98"/>
                    <a:pt x="478" y="98"/>
                    <a:pt x="477" y="98"/>
                  </a:cubicBezTo>
                  <a:cubicBezTo>
                    <a:pt x="470" y="98"/>
                    <a:pt x="453" y="95"/>
                    <a:pt x="450" y="91"/>
                  </a:cubicBezTo>
                  <a:cubicBezTo>
                    <a:pt x="446" y="87"/>
                    <a:pt x="439" y="79"/>
                    <a:pt x="436" y="78"/>
                  </a:cubicBezTo>
                  <a:cubicBezTo>
                    <a:pt x="435" y="78"/>
                    <a:pt x="434" y="78"/>
                    <a:pt x="434" y="78"/>
                  </a:cubicBezTo>
                  <a:cubicBezTo>
                    <a:pt x="433" y="78"/>
                    <a:pt x="435" y="79"/>
                    <a:pt x="433" y="79"/>
                  </a:cubicBezTo>
                  <a:cubicBezTo>
                    <a:pt x="432" y="79"/>
                    <a:pt x="432" y="79"/>
                    <a:pt x="431" y="79"/>
                  </a:cubicBezTo>
                  <a:cubicBezTo>
                    <a:pt x="427" y="79"/>
                    <a:pt x="419" y="77"/>
                    <a:pt x="417" y="77"/>
                  </a:cubicBezTo>
                  <a:cubicBezTo>
                    <a:pt x="415" y="77"/>
                    <a:pt x="415" y="69"/>
                    <a:pt x="415" y="64"/>
                  </a:cubicBezTo>
                  <a:cubicBezTo>
                    <a:pt x="415" y="61"/>
                    <a:pt x="415" y="57"/>
                    <a:pt x="415" y="54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6" y="51"/>
                    <a:pt x="416" y="48"/>
                    <a:pt x="416" y="48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3" y="41"/>
                    <a:pt x="410" y="30"/>
                    <a:pt x="407" y="18"/>
                  </a:cubicBezTo>
                  <a:cubicBezTo>
                    <a:pt x="407" y="18"/>
                    <a:pt x="407" y="18"/>
                    <a:pt x="407" y="18"/>
                  </a:cubicBezTo>
                  <a:cubicBezTo>
                    <a:pt x="405" y="18"/>
                    <a:pt x="401" y="17"/>
                    <a:pt x="396" y="17"/>
                  </a:cubicBezTo>
                  <a:cubicBezTo>
                    <a:pt x="392" y="16"/>
                    <a:pt x="388" y="16"/>
                    <a:pt x="384" y="16"/>
                  </a:cubicBezTo>
                  <a:cubicBezTo>
                    <a:pt x="384" y="16"/>
                    <a:pt x="383" y="16"/>
                    <a:pt x="382" y="16"/>
                  </a:cubicBezTo>
                  <a:cubicBezTo>
                    <a:pt x="379" y="16"/>
                    <a:pt x="375" y="17"/>
                    <a:pt x="369" y="17"/>
                  </a:cubicBezTo>
                  <a:cubicBezTo>
                    <a:pt x="359" y="17"/>
                    <a:pt x="347" y="15"/>
                    <a:pt x="335" y="3"/>
                  </a:cubicBezTo>
                  <a:cubicBezTo>
                    <a:pt x="334" y="2"/>
                    <a:pt x="333" y="1"/>
                    <a:pt x="332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$ľïḋê">
              <a:extLst>
                <a:ext uri="{FF2B5EF4-FFF2-40B4-BE49-F238E27FC236}">
                  <a16:creationId xmlns:a16="http://schemas.microsoft.com/office/drawing/2014/main" id="{E1DD42AF-A213-4CD8-BAA9-74E522A4AEF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436938" y="1495426"/>
              <a:ext cx="5291138" cy="3949700"/>
            </a:xfrm>
            <a:custGeom>
              <a:avLst/>
              <a:gdLst>
                <a:gd name="T0" fmla="*/ 154 w 969"/>
                <a:gd name="T1" fmla="*/ 296 h 724"/>
                <a:gd name="T2" fmla="*/ 33 w 969"/>
                <a:gd name="T3" fmla="*/ 478 h 724"/>
                <a:gd name="T4" fmla="*/ 217 w 969"/>
                <a:gd name="T5" fmla="*/ 598 h 724"/>
                <a:gd name="T6" fmla="*/ 385 w 969"/>
                <a:gd name="T7" fmla="*/ 601 h 724"/>
                <a:gd name="T8" fmla="*/ 617 w 969"/>
                <a:gd name="T9" fmla="*/ 621 h 724"/>
                <a:gd name="T10" fmla="*/ 841 w 969"/>
                <a:gd name="T11" fmla="*/ 671 h 724"/>
                <a:gd name="T12" fmla="*/ 773 w 969"/>
                <a:gd name="T13" fmla="*/ 516 h 724"/>
                <a:gd name="T14" fmla="*/ 684 w 969"/>
                <a:gd name="T15" fmla="*/ 358 h 724"/>
                <a:gd name="T16" fmla="*/ 952 w 969"/>
                <a:gd name="T17" fmla="*/ 154 h 724"/>
                <a:gd name="T18" fmla="*/ 865 w 969"/>
                <a:gd name="T19" fmla="*/ 21 h 724"/>
                <a:gd name="T20" fmla="*/ 734 w 969"/>
                <a:gd name="T21" fmla="*/ 174 h 724"/>
                <a:gd name="T22" fmla="*/ 552 w 969"/>
                <a:gd name="T23" fmla="*/ 107 h 724"/>
                <a:gd name="T24" fmla="*/ 352 w 969"/>
                <a:gd name="T25" fmla="*/ 60 h 724"/>
                <a:gd name="T26" fmla="*/ 154 w 969"/>
                <a:gd name="T27" fmla="*/ 296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9" h="724">
                  <a:moveTo>
                    <a:pt x="154" y="296"/>
                  </a:moveTo>
                  <a:cubicBezTo>
                    <a:pt x="154" y="296"/>
                    <a:pt x="0" y="330"/>
                    <a:pt x="33" y="478"/>
                  </a:cubicBezTo>
                  <a:cubicBezTo>
                    <a:pt x="65" y="626"/>
                    <a:pt x="183" y="540"/>
                    <a:pt x="217" y="598"/>
                  </a:cubicBezTo>
                  <a:cubicBezTo>
                    <a:pt x="233" y="624"/>
                    <a:pt x="305" y="613"/>
                    <a:pt x="385" y="601"/>
                  </a:cubicBezTo>
                  <a:cubicBezTo>
                    <a:pt x="478" y="587"/>
                    <a:pt x="582" y="573"/>
                    <a:pt x="617" y="621"/>
                  </a:cubicBezTo>
                  <a:cubicBezTo>
                    <a:pt x="682" y="711"/>
                    <a:pt x="800" y="724"/>
                    <a:pt x="841" y="671"/>
                  </a:cubicBezTo>
                  <a:cubicBezTo>
                    <a:pt x="882" y="617"/>
                    <a:pt x="856" y="512"/>
                    <a:pt x="773" y="516"/>
                  </a:cubicBezTo>
                  <a:cubicBezTo>
                    <a:pt x="691" y="521"/>
                    <a:pt x="641" y="420"/>
                    <a:pt x="684" y="358"/>
                  </a:cubicBezTo>
                  <a:cubicBezTo>
                    <a:pt x="728" y="296"/>
                    <a:pt x="932" y="261"/>
                    <a:pt x="952" y="154"/>
                  </a:cubicBezTo>
                  <a:cubicBezTo>
                    <a:pt x="969" y="56"/>
                    <a:pt x="933" y="0"/>
                    <a:pt x="865" y="21"/>
                  </a:cubicBezTo>
                  <a:cubicBezTo>
                    <a:pt x="798" y="42"/>
                    <a:pt x="852" y="131"/>
                    <a:pt x="734" y="174"/>
                  </a:cubicBezTo>
                  <a:cubicBezTo>
                    <a:pt x="625" y="213"/>
                    <a:pt x="585" y="149"/>
                    <a:pt x="552" y="107"/>
                  </a:cubicBezTo>
                  <a:cubicBezTo>
                    <a:pt x="508" y="51"/>
                    <a:pt x="418" y="8"/>
                    <a:pt x="352" y="60"/>
                  </a:cubicBezTo>
                  <a:cubicBezTo>
                    <a:pt x="273" y="122"/>
                    <a:pt x="287" y="270"/>
                    <a:pt x="154" y="296"/>
                  </a:cubicBezTo>
                </a:path>
              </a:pathLst>
            </a:custGeom>
            <a:solidFill>
              <a:srgbClr val="C5C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sḷidè">
              <a:extLst>
                <a:ext uri="{FF2B5EF4-FFF2-40B4-BE49-F238E27FC236}">
                  <a16:creationId xmlns:a16="http://schemas.microsoft.com/office/drawing/2014/main" id="{E02449CC-618F-4769-94AF-6FEC6059B1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100888" y="1844676"/>
              <a:ext cx="1157288" cy="1227138"/>
            </a:xfrm>
            <a:custGeom>
              <a:avLst/>
              <a:gdLst>
                <a:gd name="T0" fmla="*/ 106 w 212"/>
                <a:gd name="T1" fmla="*/ 225 h 225"/>
                <a:gd name="T2" fmla="*/ 0 w 212"/>
                <a:gd name="T3" fmla="*/ 113 h 225"/>
                <a:gd name="T4" fmla="*/ 106 w 212"/>
                <a:gd name="T5" fmla="*/ 0 h 225"/>
                <a:gd name="T6" fmla="*/ 212 w 212"/>
                <a:gd name="T7" fmla="*/ 113 h 225"/>
                <a:gd name="T8" fmla="*/ 106 w 212"/>
                <a:gd name="T9" fmla="*/ 225 h 225"/>
                <a:gd name="T10" fmla="*/ 106 w 212"/>
                <a:gd name="T11" fmla="*/ 4 h 225"/>
                <a:gd name="T12" fmla="*/ 4 w 212"/>
                <a:gd name="T13" fmla="*/ 113 h 225"/>
                <a:gd name="T14" fmla="*/ 106 w 212"/>
                <a:gd name="T15" fmla="*/ 221 h 225"/>
                <a:gd name="T16" fmla="*/ 208 w 212"/>
                <a:gd name="T17" fmla="*/ 113 h 225"/>
                <a:gd name="T18" fmla="*/ 106 w 212"/>
                <a:gd name="T19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25">
                  <a:moveTo>
                    <a:pt x="106" y="225"/>
                  </a:moveTo>
                  <a:cubicBezTo>
                    <a:pt x="48" y="225"/>
                    <a:pt x="0" y="175"/>
                    <a:pt x="0" y="113"/>
                  </a:cubicBezTo>
                  <a:cubicBezTo>
                    <a:pt x="0" y="50"/>
                    <a:pt x="48" y="0"/>
                    <a:pt x="106" y="0"/>
                  </a:cubicBezTo>
                  <a:cubicBezTo>
                    <a:pt x="165" y="0"/>
                    <a:pt x="212" y="50"/>
                    <a:pt x="212" y="113"/>
                  </a:cubicBezTo>
                  <a:cubicBezTo>
                    <a:pt x="212" y="175"/>
                    <a:pt x="165" y="225"/>
                    <a:pt x="106" y="225"/>
                  </a:cubicBezTo>
                  <a:close/>
                  <a:moveTo>
                    <a:pt x="106" y="4"/>
                  </a:moveTo>
                  <a:cubicBezTo>
                    <a:pt x="50" y="4"/>
                    <a:pt x="4" y="53"/>
                    <a:pt x="4" y="113"/>
                  </a:cubicBezTo>
                  <a:cubicBezTo>
                    <a:pt x="4" y="173"/>
                    <a:pt x="50" y="221"/>
                    <a:pt x="106" y="221"/>
                  </a:cubicBezTo>
                  <a:cubicBezTo>
                    <a:pt x="163" y="221"/>
                    <a:pt x="208" y="173"/>
                    <a:pt x="208" y="113"/>
                  </a:cubicBezTo>
                  <a:cubicBezTo>
                    <a:pt x="208" y="53"/>
                    <a:pt x="163" y="4"/>
                    <a:pt x="106" y="4"/>
                  </a:cubicBezTo>
                  <a:close/>
                </a:path>
              </a:pathLst>
            </a:cu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śľiḋê">
              <a:extLst>
                <a:ext uri="{FF2B5EF4-FFF2-40B4-BE49-F238E27FC236}">
                  <a16:creationId xmlns:a16="http://schemas.microsoft.com/office/drawing/2014/main" id="{5AC65AB7-9C62-433B-9CD8-3EC4344191A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50138" y="2863851"/>
              <a:ext cx="912813" cy="900113"/>
            </a:xfrm>
            <a:prstGeom prst="ellipse">
              <a:avLst/>
            </a:prstGeom>
            <a:solidFill>
              <a:srgbClr val="FFF1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šḷîḍé">
              <a:extLst>
                <a:ext uri="{FF2B5EF4-FFF2-40B4-BE49-F238E27FC236}">
                  <a16:creationId xmlns:a16="http://schemas.microsoft.com/office/drawing/2014/main" id="{38BC510E-5F5A-4750-94A5-14539B130CA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034338" y="3257551"/>
              <a:ext cx="534988" cy="533400"/>
            </a:xfrm>
            <a:custGeom>
              <a:avLst/>
              <a:gdLst>
                <a:gd name="T0" fmla="*/ 88 w 98"/>
                <a:gd name="T1" fmla="*/ 56 h 98"/>
                <a:gd name="T2" fmla="*/ 98 w 98"/>
                <a:gd name="T3" fmla="*/ 54 h 98"/>
                <a:gd name="T4" fmla="*/ 96 w 98"/>
                <a:gd name="T5" fmla="*/ 36 h 98"/>
                <a:gd name="T6" fmla="*/ 87 w 98"/>
                <a:gd name="T7" fmla="*/ 35 h 98"/>
                <a:gd name="T8" fmla="*/ 86 w 98"/>
                <a:gd name="T9" fmla="*/ 32 h 98"/>
                <a:gd name="T10" fmla="*/ 92 w 98"/>
                <a:gd name="T11" fmla="*/ 25 h 98"/>
                <a:gd name="T12" fmla="*/ 81 w 98"/>
                <a:gd name="T13" fmla="*/ 11 h 98"/>
                <a:gd name="T14" fmla="*/ 72 w 98"/>
                <a:gd name="T15" fmla="*/ 16 h 98"/>
                <a:gd name="T16" fmla="*/ 69 w 98"/>
                <a:gd name="T17" fmla="*/ 14 h 98"/>
                <a:gd name="T18" fmla="*/ 71 w 98"/>
                <a:gd name="T19" fmla="*/ 5 h 98"/>
                <a:gd name="T20" fmla="*/ 53 w 98"/>
                <a:gd name="T21" fmla="*/ 0 h 98"/>
                <a:gd name="T22" fmla="*/ 49 w 98"/>
                <a:gd name="T23" fmla="*/ 9 h 98"/>
                <a:gd name="T24" fmla="*/ 49 w 98"/>
                <a:gd name="T25" fmla="*/ 9 h 98"/>
                <a:gd name="T26" fmla="*/ 45 w 98"/>
                <a:gd name="T27" fmla="*/ 9 h 98"/>
                <a:gd name="T28" fmla="*/ 40 w 98"/>
                <a:gd name="T29" fmla="*/ 0 h 98"/>
                <a:gd name="T30" fmla="*/ 23 w 98"/>
                <a:gd name="T31" fmla="*/ 7 h 98"/>
                <a:gd name="T32" fmla="*/ 26 w 98"/>
                <a:gd name="T33" fmla="*/ 16 h 98"/>
                <a:gd name="T34" fmla="*/ 22 w 98"/>
                <a:gd name="T35" fmla="*/ 19 h 98"/>
                <a:gd name="T36" fmla="*/ 13 w 98"/>
                <a:gd name="T37" fmla="*/ 15 h 98"/>
                <a:gd name="T38" fmla="*/ 4 w 98"/>
                <a:gd name="T39" fmla="*/ 31 h 98"/>
                <a:gd name="T40" fmla="*/ 11 w 98"/>
                <a:gd name="T41" fmla="*/ 37 h 98"/>
                <a:gd name="T42" fmla="*/ 10 w 98"/>
                <a:gd name="T43" fmla="*/ 41 h 98"/>
                <a:gd name="T44" fmla="*/ 0 w 98"/>
                <a:gd name="T45" fmla="*/ 42 h 98"/>
                <a:gd name="T46" fmla="*/ 2 w 98"/>
                <a:gd name="T47" fmla="*/ 61 h 98"/>
                <a:gd name="T48" fmla="*/ 11 w 98"/>
                <a:gd name="T49" fmla="*/ 61 h 98"/>
                <a:gd name="T50" fmla="*/ 13 w 98"/>
                <a:gd name="T51" fmla="*/ 65 h 98"/>
                <a:gd name="T52" fmla="*/ 6 w 98"/>
                <a:gd name="T53" fmla="*/ 72 h 98"/>
                <a:gd name="T54" fmla="*/ 18 w 98"/>
                <a:gd name="T55" fmla="*/ 86 h 98"/>
                <a:gd name="T56" fmla="*/ 26 w 98"/>
                <a:gd name="T57" fmla="*/ 81 h 98"/>
                <a:gd name="T58" fmla="*/ 29 w 98"/>
                <a:gd name="T59" fmla="*/ 83 h 98"/>
                <a:gd name="T60" fmla="*/ 28 w 98"/>
                <a:gd name="T61" fmla="*/ 93 h 98"/>
                <a:gd name="T62" fmla="*/ 46 w 98"/>
                <a:gd name="T63" fmla="*/ 98 h 98"/>
                <a:gd name="T64" fmla="*/ 49 w 98"/>
                <a:gd name="T65" fmla="*/ 89 h 98"/>
                <a:gd name="T66" fmla="*/ 54 w 98"/>
                <a:gd name="T67" fmla="*/ 88 h 98"/>
                <a:gd name="T68" fmla="*/ 59 w 98"/>
                <a:gd name="T69" fmla="*/ 97 h 98"/>
                <a:gd name="T70" fmla="*/ 76 w 98"/>
                <a:gd name="T71" fmla="*/ 90 h 98"/>
                <a:gd name="T72" fmla="*/ 74 w 98"/>
                <a:gd name="T73" fmla="*/ 80 h 98"/>
                <a:gd name="T74" fmla="*/ 77 w 98"/>
                <a:gd name="T75" fmla="*/ 78 h 98"/>
                <a:gd name="T76" fmla="*/ 86 w 98"/>
                <a:gd name="T77" fmla="*/ 81 h 98"/>
                <a:gd name="T78" fmla="*/ 95 w 98"/>
                <a:gd name="T79" fmla="*/ 66 h 98"/>
                <a:gd name="T80" fmla="*/ 88 w 98"/>
                <a:gd name="T81" fmla="*/ 60 h 98"/>
                <a:gd name="T82" fmla="*/ 88 w 98"/>
                <a:gd name="T83" fmla="*/ 56 h 98"/>
                <a:gd name="T84" fmla="*/ 49 w 98"/>
                <a:gd name="T85" fmla="*/ 58 h 98"/>
                <a:gd name="T86" fmla="*/ 40 w 98"/>
                <a:gd name="T87" fmla="*/ 49 h 98"/>
                <a:gd name="T88" fmla="*/ 49 w 98"/>
                <a:gd name="T89" fmla="*/ 40 h 98"/>
                <a:gd name="T90" fmla="*/ 58 w 98"/>
                <a:gd name="T91" fmla="*/ 49 h 98"/>
                <a:gd name="T92" fmla="*/ 49 w 98"/>
                <a:gd name="T93" fmla="*/ 5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8" h="98">
                  <a:moveTo>
                    <a:pt x="88" y="56"/>
                  </a:moveTo>
                  <a:cubicBezTo>
                    <a:pt x="98" y="54"/>
                    <a:pt x="98" y="54"/>
                    <a:pt x="98" y="5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6" y="34"/>
                    <a:pt x="86" y="33"/>
                    <a:pt x="86" y="3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1" y="16"/>
                    <a:pt x="70" y="15"/>
                    <a:pt x="69" y="14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8" y="9"/>
                    <a:pt x="46" y="9"/>
                    <a:pt x="45" y="9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4" y="17"/>
                    <a:pt x="23" y="18"/>
                    <a:pt x="22" y="19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8"/>
                    <a:pt x="10" y="39"/>
                    <a:pt x="10" y="4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3"/>
                    <a:pt x="12" y="64"/>
                    <a:pt x="13" y="65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2"/>
                    <a:pt x="28" y="83"/>
                    <a:pt x="29" y="83"/>
                  </a:cubicBezTo>
                  <a:cubicBezTo>
                    <a:pt x="28" y="93"/>
                    <a:pt x="28" y="93"/>
                    <a:pt x="28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1" y="89"/>
                    <a:pt x="53" y="89"/>
                    <a:pt x="54" y="88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76" y="90"/>
                    <a:pt x="76" y="90"/>
                    <a:pt x="76" y="90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5" y="79"/>
                    <a:pt x="76" y="79"/>
                    <a:pt x="77" y="78"/>
                  </a:cubicBezTo>
                  <a:cubicBezTo>
                    <a:pt x="86" y="81"/>
                    <a:pt x="86" y="81"/>
                    <a:pt x="86" y="81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58"/>
                    <a:pt x="88" y="57"/>
                    <a:pt x="88" y="56"/>
                  </a:cubicBezTo>
                  <a:close/>
                  <a:moveTo>
                    <a:pt x="49" y="58"/>
                  </a:moveTo>
                  <a:cubicBezTo>
                    <a:pt x="44" y="58"/>
                    <a:pt x="40" y="54"/>
                    <a:pt x="40" y="49"/>
                  </a:cubicBezTo>
                  <a:cubicBezTo>
                    <a:pt x="40" y="44"/>
                    <a:pt x="44" y="40"/>
                    <a:pt x="49" y="40"/>
                  </a:cubicBezTo>
                  <a:cubicBezTo>
                    <a:pt x="54" y="40"/>
                    <a:pt x="58" y="44"/>
                    <a:pt x="58" y="49"/>
                  </a:cubicBezTo>
                  <a:cubicBezTo>
                    <a:pt x="58" y="54"/>
                    <a:pt x="54" y="58"/>
                    <a:pt x="49" y="58"/>
                  </a:cubicBezTo>
                  <a:close/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$1iḍè">
              <a:extLst>
                <a:ext uri="{FF2B5EF4-FFF2-40B4-BE49-F238E27FC236}">
                  <a16:creationId xmlns:a16="http://schemas.microsoft.com/office/drawing/2014/main" id="{BE279C16-537C-476A-8F00-A961604CE25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46750" y="1101726"/>
              <a:ext cx="1327150" cy="1331913"/>
            </a:xfrm>
            <a:custGeom>
              <a:avLst/>
              <a:gdLst>
                <a:gd name="T0" fmla="*/ 219 w 243"/>
                <a:gd name="T1" fmla="*/ 140 h 244"/>
                <a:gd name="T2" fmla="*/ 243 w 243"/>
                <a:gd name="T3" fmla="*/ 135 h 244"/>
                <a:gd name="T4" fmla="*/ 239 w 243"/>
                <a:gd name="T5" fmla="*/ 89 h 244"/>
                <a:gd name="T6" fmla="*/ 215 w 243"/>
                <a:gd name="T7" fmla="*/ 88 h 244"/>
                <a:gd name="T8" fmla="*/ 212 w 243"/>
                <a:gd name="T9" fmla="*/ 81 h 244"/>
                <a:gd name="T10" fmla="*/ 228 w 243"/>
                <a:gd name="T11" fmla="*/ 63 h 244"/>
                <a:gd name="T12" fmla="*/ 200 w 243"/>
                <a:gd name="T13" fmla="*/ 28 h 244"/>
                <a:gd name="T14" fmla="*/ 179 w 243"/>
                <a:gd name="T15" fmla="*/ 41 h 244"/>
                <a:gd name="T16" fmla="*/ 172 w 243"/>
                <a:gd name="T17" fmla="*/ 36 h 244"/>
                <a:gd name="T18" fmla="*/ 175 w 243"/>
                <a:gd name="T19" fmla="*/ 12 h 244"/>
                <a:gd name="T20" fmla="*/ 131 w 243"/>
                <a:gd name="T21" fmla="*/ 0 h 244"/>
                <a:gd name="T22" fmla="*/ 122 w 243"/>
                <a:gd name="T23" fmla="*/ 22 h 244"/>
                <a:gd name="T24" fmla="*/ 121 w 243"/>
                <a:gd name="T25" fmla="*/ 22 h 244"/>
                <a:gd name="T26" fmla="*/ 111 w 243"/>
                <a:gd name="T27" fmla="*/ 23 h 244"/>
                <a:gd name="T28" fmla="*/ 99 w 243"/>
                <a:gd name="T29" fmla="*/ 2 h 244"/>
                <a:gd name="T30" fmla="*/ 57 w 243"/>
                <a:gd name="T31" fmla="*/ 18 h 244"/>
                <a:gd name="T32" fmla="*/ 62 w 243"/>
                <a:gd name="T33" fmla="*/ 41 h 244"/>
                <a:gd name="T34" fmla="*/ 53 w 243"/>
                <a:gd name="T35" fmla="*/ 49 h 244"/>
                <a:gd name="T36" fmla="*/ 32 w 243"/>
                <a:gd name="T37" fmla="*/ 39 h 244"/>
                <a:gd name="T38" fmla="*/ 7 w 243"/>
                <a:gd name="T39" fmla="*/ 77 h 244"/>
                <a:gd name="T40" fmla="*/ 26 w 243"/>
                <a:gd name="T41" fmla="*/ 92 h 244"/>
                <a:gd name="T42" fmla="*/ 23 w 243"/>
                <a:gd name="T43" fmla="*/ 102 h 244"/>
                <a:gd name="T44" fmla="*/ 0 w 243"/>
                <a:gd name="T45" fmla="*/ 106 h 244"/>
                <a:gd name="T46" fmla="*/ 3 w 243"/>
                <a:gd name="T47" fmla="*/ 152 h 244"/>
                <a:gd name="T48" fmla="*/ 26 w 243"/>
                <a:gd name="T49" fmla="*/ 153 h 244"/>
                <a:gd name="T50" fmla="*/ 30 w 243"/>
                <a:gd name="T51" fmla="*/ 163 h 244"/>
                <a:gd name="T52" fmla="*/ 14 w 243"/>
                <a:gd name="T53" fmla="*/ 180 h 244"/>
                <a:gd name="T54" fmla="*/ 43 w 243"/>
                <a:gd name="T55" fmla="*/ 216 h 244"/>
                <a:gd name="T56" fmla="*/ 63 w 243"/>
                <a:gd name="T57" fmla="*/ 203 h 244"/>
                <a:gd name="T58" fmla="*/ 72 w 243"/>
                <a:gd name="T59" fmla="*/ 209 h 244"/>
                <a:gd name="T60" fmla="*/ 69 w 243"/>
                <a:gd name="T61" fmla="*/ 232 h 244"/>
                <a:gd name="T62" fmla="*/ 113 w 243"/>
                <a:gd name="T63" fmla="*/ 244 h 244"/>
                <a:gd name="T64" fmla="*/ 122 w 243"/>
                <a:gd name="T65" fmla="*/ 222 h 244"/>
                <a:gd name="T66" fmla="*/ 134 w 243"/>
                <a:gd name="T67" fmla="*/ 221 h 244"/>
                <a:gd name="T68" fmla="*/ 146 w 243"/>
                <a:gd name="T69" fmla="*/ 241 h 244"/>
                <a:gd name="T70" fmla="*/ 188 w 243"/>
                <a:gd name="T71" fmla="*/ 224 h 244"/>
                <a:gd name="T72" fmla="*/ 182 w 243"/>
                <a:gd name="T73" fmla="*/ 201 h 244"/>
                <a:gd name="T74" fmla="*/ 190 w 243"/>
                <a:gd name="T75" fmla="*/ 194 h 244"/>
                <a:gd name="T76" fmla="*/ 212 w 243"/>
                <a:gd name="T77" fmla="*/ 204 h 244"/>
                <a:gd name="T78" fmla="*/ 236 w 243"/>
                <a:gd name="T79" fmla="*/ 165 h 244"/>
                <a:gd name="T80" fmla="*/ 217 w 243"/>
                <a:gd name="T81" fmla="*/ 150 h 244"/>
                <a:gd name="T82" fmla="*/ 219 w 243"/>
                <a:gd name="T83" fmla="*/ 140 h 244"/>
                <a:gd name="T84" fmla="*/ 121 w 243"/>
                <a:gd name="T85" fmla="*/ 145 h 244"/>
                <a:gd name="T86" fmla="*/ 98 w 243"/>
                <a:gd name="T87" fmla="*/ 122 h 244"/>
                <a:gd name="T88" fmla="*/ 121 w 243"/>
                <a:gd name="T89" fmla="*/ 99 h 244"/>
                <a:gd name="T90" fmla="*/ 144 w 243"/>
                <a:gd name="T91" fmla="*/ 122 h 244"/>
                <a:gd name="T92" fmla="*/ 121 w 243"/>
                <a:gd name="T93" fmla="*/ 14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3" h="244">
                  <a:moveTo>
                    <a:pt x="219" y="140"/>
                  </a:moveTo>
                  <a:cubicBezTo>
                    <a:pt x="243" y="135"/>
                    <a:pt x="243" y="135"/>
                    <a:pt x="243" y="135"/>
                  </a:cubicBezTo>
                  <a:cubicBezTo>
                    <a:pt x="239" y="89"/>
                    <a:pt x="239" y="89"/>
                    <a:pt x="239" y="89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4" y="86"/>
                    <a:pt x="213" y="83"/>
                    <a:pt x="212" y="81"/>
                  </a:cubicBezTo>
                  <a:cubicBezTo>
                    <a:pt x="228" y="63"/>
                    <a:pt x="228" y="63"/>
                    <a:pt x="228" y="63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179" y="41"/>
                    <a:pt x="179" y="41"/>
                    <a:pt x="179" y="41"/>
                  </a:cubicBezTo>
                  <a:cubicBezTo>
                    <a:pt x="177" y="39"/>
                    <a:pt x="174" y="38"/>
                    <a:pt x="172" y="36"/>
                  </a:cubicBezTo>
                  <a:cubicBezTo>
                    <a:pt x="175" y="12"/>
                    <a:pt x="175" y="12"/>
                    <a:pt x="175" y="12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18" y="22"/>
                    <a:pt x="114" y="22"/>
                    <a:pt x="111" y="23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9" y="44"/>
                    <a:pt x="56" y="46"/>
                    <a:pt x="53" y="4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26" y="92"/>
                    <a:pt x="26" y="92"/>
                    <a:pt x="26" y="92"/>
                  </a:cubicBezTo>
                  <a:cubicBezTo>
                    <a:pt x="25" y="95"/>
                    <a:pt x="24" y="98"/>
                    <a:pt x="23" y="102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26" y="153"/>
                    <a:pt x="26" y="153"/>
                    <a:pt x="26" y="153"/>
                  </a:cubicBezTo>
                  <a:cubicBezTo>
                    <a:pt x="28" y="157"/>
                    <a:pt x="29" y="160"/>
                    <a:pt x="30" y="163"/>
                  </a:cubicBezTo>
                  <a:cubicBezTo>
                    <a:pt x="14" y="180"/>
                    <a:pt x="14" y="180"/>
                    <a:pt x="14" y="180"/>
                  </a:cubicBezTo>
                  <a:cubicBezTo>
                    <a:pt x="43" y="216"/>
                    <a:pt x="43" y="216"/>
                    <a:pt x="43" y="216"/>
                  </a:cubicBezTo>
                  <a:cubicBezTo>
                    <a:pt x="63" y="203"/>
                    <a:pt x="63" y="203"/>
                    <a:pt x="63" y="203"/>
                  </a:cubicBezTo>
                  <a:cubicBezTo>
                    <a:pt x="66" y="205"/>
                    <a:pt x="69" y="207"/>
                    <a:pt x="72" y="209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113" y="244"/>
                    <a:pt x="113" y="244"/>
                    <a:pt x="113" y="244"/>
                  </a:cubicBezTo>
                  <a:cubicBezTo>
                    <a:pt x="122" y="222"/>
                    <a:pt x="122" y="222"/>
                    <a:pt x="122" y="222"/>
                  </a:cubicBezTo>
                  <a:cubicBezTo>
                    <a:pt x="126" y="222"/>
                    <a:pt x="130" y="221"/>
                    <a:pt x="134" y="221"/>
                  </a:cubicBezTo>
                  <a:cubicBezTo>
                    <a:pt x="146" y="241"/>
                    <a:pt x="146" y="241"/>
                    <a:pt x="146" y="241"/>
                  </a:cubicBezTo>
                  <a:cubicBezTo>
                    <a:pt x="188" y="224"/>
                    <a:pt x="188" y="224"/>
                    <a:pt x="188" y="224"/>
                  </a:cubicBezTo>
                  <a:cubicBezTo>
                    <a:pt x="182" y="201"/>
                    <a:pt x="182" y="201"/>
                    <a:pt x="182" y="201"/>
                  </a:cubicBezTo>
                  <a:cubicBezTo>
                    <a:pt x="185" y="199"/>
                    <a:pt x="187" y="196"/>
                    <a:pt x="190" y="194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36" y="165"/>
                    <a:pt x="236" y="165"/>
                    <a:pt x="236" y="165"/>
                  </a:cubicBezTo>
                  <a:cubicBezTo>
                    <a:pt x="217" y="150"/>
                    <a:pt x="217" y="150"/>
                    <a:pt x="217" y="150"/>
                  </a:cubicBezTo>
                  <a:cubicBezTo>
                    <a:pt x="218" y="146"/>
                    <a:pt x="219" y="143"/>
                    <a:pt x="219" y="140"/>
                  </a:cubicBezTo>
                  <a:close/>
                  <a:moveTo>
                    <a:pt x="121" y="145"/>
                  </a:moveTo>
                  <a:cubicBezTo>
                    <a:pt x="108" y="145"/>
                    <a:pt x="98" y="134"/>
                    <a:pt x="98" y="122"/>
                  </a:cubicBezTo>
                  <a:cubicBezTo>
                    <a:pt x="98" y="109"/>
                    <a:pt x="108" y="99"/>
                    <a:pt x="121" y="99"/>
                  </a:cubicBezTo>
                  <a:cubicBezTo>
                    <a:pt x="134" y="99"/>
                    <a:pt x="144" y="109"/>
                    <a:pt x="144" y="122"/>
                  </a:cubicBezTo>
                  <a:cubicBezTo>
                    <a:pt x="144" y="134"/>
                    <a:pt x="134" y="145"/>
                    <a:pt x="121" y="145"/>
                  </a:cubicBezTo>
                  <a:close/>
                </a:path>
              </a:pathLst>
            </a:custGeom>
            <a:solidFill>
              <a:srgbClr val="EFC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ṡḻïḍé">
              <a:extLst>
                <a:ext uri="{FF2B5EF4-FFF2-40B4-BE49-F238E27FC236}">
                  <a16:creationId xmlns:a16="http://schemas.microsoft.com/office/drawing/2014/main" id="{C78DCF94-C439-458D-9319-08F57A6336B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83150" y="1641476"/>
              <a:ext cx="879475" cy="879475"/>
            </a:xfrm>
            <a:custGeom>
              <a:avLst/>
              <a:gdLst>
                <a:gd name="T0" fmla="*/ 145 w 161"/>
                <a:gd name="T1" fmla="*/ 92 h 161"/>
                <a:gd name="T2" fmla="*/ 161 w 161"/>
                <a:gd name="T3" fmla="*/ 89 h 161"/>
                <a:gd name="T4" fmla="*/ 158 w 161"/>
                <a:gd name="T5" fmla="*/ 59 h 161"/>
                <a:gd name="T6" fmla="*/ 142 w 161"/>
                <a:gd name="T7" fmla="*/ 58 h 161"/>
                <a:gd name="T8" fmla="*/ 140 w 161"/>
                <a:gd name="T9" fmla="*/ 53 h 161"/>
                <a:gd name="T10" fmla="*/ 151 w 161"/>
                <a:gd name="T11" fmla="*/ 42 h 161"/>
                <a:gd name="T12" fmla="*/ 132 w 161"/>
                <a:gd name="T13" fmla="*/ 19 h 161"/>
                <a:gd name="T14" fmla="*/ 119 w 161"/>
                <a:gd name="T15" fmla="*/ 27 h 161"/>
                <a:gd name="T16" fmla="*/ 114 w 161"/>
                <a:gd name="T17" fmla="*/ 24 h 161"/>
                <a:gd name="T18" fmla="*/ 116 w 161"/>
                <a:gd name="T19" fmla="*/ 8 h 161"/>
                <a:gd name="T20" fmla="*/ 87 w 161"/>
                <a:gd name="T21" fmla="*/ 0 h 161"/>
                <a:gd name="T22" fmla="*/ 81 w 161"/>
                <a:gd name="T23" fmla="*/ 15 h 161"/>
                <a:gd name="T24" fmla="*/ 80 w 161"/>
                <a:gd name="T25" fmla="*/ 15 h 161"/>
                <a:gd name="T26" fmla="*/ 73 w 161"/>
                <a:gd name="T27" fmla="*/ 15 h 161"/>
                <a:gd name="T28" fmla="*/ 66 w 161"/>
                <a:gd name="T29" fmla="*/ 1 h 161"/>
                <a:gd name="T30" fmla="*/ 38 w 161"/>
                <a:gd name="T31" fmla="*/ 12 h 161"/>
                <a:gd name="T32" fmla="*/ 41 w 161"/>
                <a:gd name="T33" fmla="*/ 27 h 161"/>
                <a:gd name="T34" fmla="*/ 36 w 161"/>
                <a:gd name="T35" fmla="*/ 32 h 161"/>
                <a:gd name="T36" fmla="*/ 21 w 161"/>
                <a:gd name="T37" fmla="*/ 25 h 161"/>
                <a:gd name="T38" fmla="*/ 5 w 161"/>
                <a:gd name="T39" fmla="*/ 51 h 161"/>
                <a:gd name="T40" fmla="*/ 17 w 161"/>
                <a:gd name="T41" fmla="*/ 61 h 161"/>
                <a:gd name="T42" fmla="*/ 16 w 161"/>
                <a:gd name="T43" fmla="*/ 67 h 161"/>
                <a:gd name="T44" fmla="*/ 0 w 161"/>
                <a:gd name="T45" fmla="*/ 70 h 161"/>
                <a:gd name="T46" fmla="*/ 2 w 161"/>
                <a:gd name="T47" fmla="*/ 100 h 161"/>
                <a:gd name="T48" fmla="*/ 18 w 161"/>
                <a:gd name="T49" fmla="*/ 101 h 161"/>
                <a:gd name="T50" fmla="*/ 20 w 161"/>
                <a:gd name="T51" fmla="*/ 108 h 161"/>
                <a:gd name="T52" fmla="*/ 9 w 161"/>
                <a:gd name="T53" fmla="*/ 119 h 161"/>
                <a:gd name="T54" fmla="*/ 28 w 161"/>
                <a:gd name="T55" fmla="*/ 142 h 161"/>
                <a:gd name="T56" fmla="*/ 42 w 161"/>
                <a:gd name="T57" fmla="*/ 134 h 161"/>
                <a:gd name="T58" fmla="*/ 48 w 161"/>
                <a:gd name="T59" fmla="*/ 138 h 161"/>
                <a:gd name="T60" fmla="*/ 46 w 161"/>
                <a:gd name="T61" fmla="*/ 153 h 161"/>
                <a:gd name="T62" fmla="*/ 75 w 161"/>
                <a:gd name="T63" fmla="*/ 161 h 161"/>
                <a:gd name="T64" fmla="*/ 81 w 161"/>
                <a:gd name="T65" fmla="*/ 146 h 161"/>
                <a:gd name="T66" fmla="*/ 89 w 161"/>
                <a:gd name="T67" fmla="*/ 146 h 161"/>
                <a:gd name="T68" fmla="*/ 97 w 161"/>
                <a:gd name="T69" fmla="*/ 159 h 161"/>
                <a:gd name="T70" fmla="*/ 125 w 161"/>
                <a:gd name="T71" fmla="*/ 148 h 161"/>
                <a:gd name="T72" fmla="*/ 120 w 161"/>
                <a:gd name="T73" fmla="*/ 133 h 161"/>
                <a:gd name="T74" fmla="*/ 126 w 161"/>
                <a:gd name="T75" fmla="*/ 128 h 161"/>
                <a:gd name="T76" fmla="*/ 140 w 161"/>
                <a:gd name="T77" fmla="*/ 134 h 161"/>
                <a:gd name="T78" fmla="*/ 156 w 161"/>
                <a:gd name="T79" fmla="*/ 109 h 161"/>
                <a:gd name="T80" fmla="*/ 144 w 161"/>
                <a:gd name="T81" fmla="*/ 99 h 161"/>
                <a:gd name="T82" fmla="*/ 145 w 161"/>
                <a:gd name="T83" fmla="*/ 92 h 161"/>
                <a:gd name="T84" fmla="*/ 80 w 161"/>
                <a:gd name="T85" fmla="*/ 96 h 161"/>
                <a:gd name="T86" fmla="*/ 65 w 161"/>
                <a:gd name="T87" fmla="*/ 80 h 161"/>
                <a:gd name="T88" fmla="*/ 80 w 161"/>
                <a:gd name="T89" fmla="*/ 65 h 161"/>
                <a:gd name="T90" fmla="*/ 95 w 161"/>
                <a:gd name="T91" fmla="*/ 80 h 161"/>
                <a:gd name="T92" fmla="*/ 80 w 161"/>
                <a:gd name="T93" fmla="*/ 9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1" h="161">
                  <a:moveTo>
                    <a:pt x="145" y="9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58" y="59"/>
                    <a:pt x="158" y="59"/>
                    <a:pt x="158" y="59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7"/>
                    <a:pt x="141" y="55"/>
                    <a:pt x="140" y="53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7" y="26"/>
                    <a:pt x="115" y="25"/>
                    <a:pt x="114" y="24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15"/>
                    <a:pt x="76" y="15"/>
                    <a:pt x="73" y="15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39" y="29"/>
                    <a:pt x="37" y="30"/>
                    <a:pt x="36" y="32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3"/>
                    <a:pt x="16" y="65"/>
                    <a:pt x="16" y="67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3"/>
                    <a:pt x="19" y="106"/>
                    <a:pt x="20" y="108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35"/>
                    <a:pt x="46" y="137"/>
                    <a:pt x="48" y="138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75" y="161"/>
                    <a:pt x="75" y="161"/>
                    <a:pt x="75" y="161"/>
                  </a:cubicBezTo>
                  <a:cubicBezTo>
                    <a:pt x="81" y="146"/>
                    <a:pt x="81" y="146"/>
                    <a:pt x="81" y="146"/>
                  </a:cubicBezTo>
                  <a:cubicBezTo>
                    <a:pt x="84" y="146"/>
                    <a:pt x="86" y="146"/>
                    <a:pt x="89" y="146"/>
                  </a:cubicBezTo>
                  <a:cubicBezTo>
                    <a:pt x="97" y="159"/>
                    <a:pt x="97" y="159"/>
                    <a:pt x="97" y="159"/>
                  </a:cubicBezTo>
                  <a:cubicBezTo>
                    <a:pt x="125" y="148"/>
                    <a:pt x="125" y="148"/>
                    <a:pt x="125" y="148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22" y="131"/>
                    <a:pt x="124" y="130"/>
                    <a:pt x="126" y="128"/>
                  </a:cubicBezTo>
                  <a:cubicBezTo>
                    <a:pt x="140" y="134"/>
                    <a:pt x="140" y="134"/>
                    <a:pt x="140" y="134"/>
                  </a:cubicBezTo>
                  <a:cubicBezTo>
                    <a:pt x="156" y="109"/>
                    <a:pt x="156" y="109"/>
                    <a:pt x="156" y="109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4" y="97"/>
                    <a:pt x="145" y="94"/>
                    <a:pt x="145" y="92"/>
                  </a:cubicBezTo>
                  <a:close/>
                  <a:moveTo>
                    <a:pt x="80" y="96"/>
                  </a:moveTo>
                  <a:cubicBezTo>
                    <a:pt x="72" y="96"/>
                    <a:pt x="65" y="89"/>
                    <a:pt x="65" y="80"/>
                  </a:cubicBezTo>
                  <a:cubicBezTo>
                    <a:pt x="65" y="72"/>
                    <a:pt x="72" y="65"/>
                    <a:pt x="80" y="65"/>
                  </a:cubicBezTo>
                  <a:cubicBezTo>
                    <a:pt x="89" y="65"/>
                    <a:pt x="95" y="72"/>
                    <a:pt x="95" y="80"/>
                  </a:cubicBezTo>
                  <a:cubicBezTo>
                    <a:pt x="95" y="89"/>
                    <a:pt x="89" y="96"/>
                    <a:pt x="80" y="96"/>
                  </a:cubicBezTo>
                  <a:close/>
                </a:path>
              </a:pathLst>
            </a:custGeom>
            <a:solidFill>
              <a:srgbClr val="FFDD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ṥļîḍè">
              <a:extLst>
                <a:ext uri="{FF2B5EF4-FFF2-40B4-BE49-F238E27FC236}">
                  <a16:creationId xmlns:a16="http://schemas.microsoft.com/office/drawing/2014/main" id="{EB2D829B-19D2-4867-8AC6-A9C8C9F440D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544888" y="2362201"/>
              <a:ext cx="595313" cy="573088"/>
            </a:xfrm>
            <a:prstGeom prst="ellipse">
              <a:avLst/>
            </a:prstGeom>
            <a:solidFill>
              <a:srgbClr val="FFF1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Sľíḍé">
              <a:extLst>
                <a:ext uri="{FF2B5EF4-FFF2-40B4-BE49-F238E27FC236}">
                  <a16:creationId xmlns:a16="http://schemas.microsoft.com/office/drawing/2014/main" id="{6978F5FC-6381-4B05-9D17-9F92A4E02BF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33863" y="2241551"/>
              <a:ext cx="3675063" cy="2794000"/>
            </a:xfrm>
            <a:custGeom>
              <a:avLst/>
              <a:gdLst>
                <a:gd name="T0" fmla="*/ 673 w 673"/>
                <a:gd name="T1" fmla="*/ 491 h 512"/>
                <a:gd name="T2" fmla="*/ 651 w 673"/>
                <a:gd name="T3" fmla="*/ 512 h 512"/>
                <a:gd name="T4" fmla="*/ 21 w 673"/>
                <a:gd name="T5" fmla="*/ 512 h 512"/>
                <a:gd name="T6" fmla="*/ 0 w 673"/>
                <a:gd name="T7" fmla="*/ 491 h 512"/>
                <a:gd name="T8" fmla="*/ 0 w 673"/>
                <a:gd name="T9" fmla="*/ 38 h 512"/>
                <a:gd name="T10" fmla="*/ 0 w 673"/>
                <a:gd name="T11" fmla="*/ 22 h 512"/>
                <a:gd name="T12" fmla="*/ 21 w 673"/>
                <a:gd name="T13" fmla="*/ 0 h 512"/>
                <a:gd name="T14" fmla="*/ 651 w 673"/>
                <a:gd name="T15" fmla="*/ 0 h 512"/>
                <a:gd name="T16" fmla="*/ 673 w 673"/>
                <a:gd name="T17" fmla="*/ 22 h 512"/>
                <a:gd name="T18" fmla="*/ 673 w 673"/>
                <a:gd name="T19" fmla="*/ 38 h 512"/>
                <a:gd name="T20" fmla="*/ 673 w 673"/>
                <a:gd name="T21" fmla="*/ 4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3" h="512">
                  <a:moveTo>
                    <a:pt x="673" y="491"/>
                  </a:moveTo>
                  <a:cubicBezTo>
                    <a:pt x="673" y="503"/>
                    <a:pt x="663" y="512"/>
                    <a:pt x="651" y="512"/>
                  </a:cubicBezTo>
                  <a:cubicBezTo>
                    <a:pt x="21" y="512"/>
                    <a:pt x="21" y="512"/>
                    <a:pt x="21" y="512"/>
                  </a:cubicBezTo>
                  <a:cubicBezTo>
                    <a:pt x="10" y="512"/>
                    <a:pt x="0" y="503"/>
                    <a:pt x="0" y="49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63" y="0"/>
                    <a:pt x="673" y="10"/>
                    <a:pt x="673" y="22"/>
                  </a:cubicBezTo>
                  <a:cubicBezTo>
                    <a:pt x="673" y="38"/>
                    <a:pt x="673" y="38"/>
                    <a:pt x="673" y="38"/>
                  </a:cubicBezTo>
                  <a:cubicBezTo>
                    <a:pt x="673" y="491"/>
                    <a:pt x="673" y="491"/>
                    <a:pt x="673" y="491"/>
                  </a:cubicBezTo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sļiďê">
              <a:extLst>
                <a:ext uri="{FF2B5EF4-FFF2-40B4-BE49-F238E27FC236}">
                  <a16:creationId xmlns:a16="http://schemas.microsoft.com/office/drawing/2014/main" id="{8DC30A07-ABE0-4180-9A4E-095019C9623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33863" y="2241551"/>
              <a:ext cx="3675063" cy="207963"/>
            </a:xfrm>
            <a:custGeom>
              <a:avLst/>
              <a:gdLst>
                <a:gd name="T0" fmla="*/ 0 w 673"/>
                <a:gd name="T1" fmla="*/ 38 h 38"/>
                <a:gd name="T2" fmla="*/ 0 w 673"/>
                <a:gd name="T3" fmla="*/ 22 h 38"/>
                <a:gd name="T4" fmla="*/ 21 w 673"/>
                <a:gd name="T5" fmla="*/ 0 h 38"/>
                <a:gd name="T6" fmla="*/ 651 w 673"/>
                <a:gd name="T7" fmla="*/ 0 h 38"/>
                <a:gd name="T8" fmla="*/ 673 w 673"/>
                <a:gd name="T9" fmla="*/ 22 h 38"/>
                <a:gd name="T10" fmla="*/ 673 w 673"/>
                <a:gd name="T11" fmla="*/ 38 h 38"/>
                <a:gd name="T12" fmla="*/ 0 w 673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3" h="38">
                  <a:moveTo>
                    <a:pt x="0" y="38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63" y="0"/>
                    <a:pt x="673" y="10"/>
                    <a:pt x="673" y="22"/>
                  </a:cubicBezTo>
                  <a:cubicBezTo>
                    <a:pt x="673" y="38"/>
                    <a:pt x="673" y="38"/>
                    <a:pt x="673" y="38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iSḷïḓe">
              <a:extLst>
                <a:ext uri="{FF2B5EF4-FFF2-40B4-BE49-F238E27FC236}">
                  <a16:creationId xmlns:a16="http://schemas.microsoft.com/office/drawing/2014/main" id="{D580BBE3-37FB-4E8E-891A-8280189A21B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75150" y="2312988"/>
              <a:ext cx="71438" cy="714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śḷíḓê">
              <a:extLst>
                <a:ext uri="{FF2B5EF4-FFF2-40B4-BE49-F238E27FC236}">
                  <a16:creationId xmlns:a16="http://schemas.microsoft.com/office/drawing/2014/main" id="{7AEFD810-75AE-44D5-A2D6-F27F783BD7F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91038" y="2312988"/>
              <a:ext cx="69850" cy="714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ṩḻîḑé">
              <a:extLst>
                <a:ext uri="{FF2B5EF4-FFF2-40B4-BE49-F238E27FC236}">
                  <a16:creationId xmlns:a16="http://schemas.microsoft.com/office/drawing/2014/main" id="{51AE7B10-89B1-4791-AC6D-F6BC4A5923A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10100" y="2312988"/>
              <a:ext cx="66675" cy="714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ṧļíḍè">
              <a:extLst>
                <a:ext uri="{FF2B5EF4-FFF2-40B4-BE49-F238E27FC236}">
                  <a16:creationId xmlns:a16="http://schemas.microsoft.com/office/drawing/2014/main" id="{B88AEA4B-7099-4349-BECD-41EA2550377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41825" y="2570163"/>
              <a:ext cx="2605088" cy="539750"/>
            </a:xfrm>
            <a:custGeom>
              <a:avLst/>
              <a:gdLst>
                <a:gd name="T0" fmla="*/ 477 w 477"/>
                <a:gd name="T1" fmla="*/ 87 h 99"/>
                <a:gd name="T2" fmla="*/ 465 w 477"/>
                <a:gd name="T3" fmla="*/ 99 h 99"/>
                <a:gd name="T4" fmla="*/ 12 w 477"/>
                <a:gd name="T5" fmla="*/ 99 h 99"/>
                <a:gd name="T6" fmla="*/ 0 w 477"/>
                <a:gd name="T7" fmla="*/ 87 h 99"/>
                <a:gd name="T8" fmla="*/ 0 w 477"/>
                <a:gd name="T9" fmla="*/ 12 h 99"/>
                <a:gd name="T10" fmla="*/ 12 w 477"/>
                <a:gd name="T11" fmla="*/ 0 h 99"/>
                <a:gd name="T12" fmla="*/ 465 w 477"/>
                <a:gd name="T13" fmla="*/ 0 h 99"/>
                <a:gd name="T14" fmla="*/ 477 w 477"/>
                <a:gd name="T15" fmla="*/ 12 h 99"/>
                <a:gd name="T16" fmla="*/ 477 w 477"/>
                <a:gd name="T17" fmla="*/ 8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7" h="99">
                  <a:moveTo>
                    <a:pt x="477" y="87"/>
                  </a:moveTo>
                  <a:cubicBezTo>
                    <a:pt x="477" y="93"/>
                    <a:pt x="472" y="99"/>
                    <a:pt x="465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5" y="99"/>
                    <a:pt x="0" y="93"/>
                    <a:pt x="0" y="8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2" y="0"/>
                    <a:pt x="477" y="6"/>
                    <a:pt x="477" y="12"/>
                  </a:cubicBezTo>
                  <a:lnTo>
                    <a:pt x="477" y="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şḷíḑè">
              <a:extLst>
                <a:ext uri="{FF2B5EF4-FFF2-40B4-BE49-F238E27FC236}">
                  <a16:creationId xmlns:a16="http://schemas.microsoft.com/office/drawing/2014/main" id="{3A5D952E-F272-48AD-B531-F72ECF1BA30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33900" y="3284538"/>
              <a:ext cx="2435225" cy="528638"/>
            </a:xfrm>
            <a:custGeom>
              <a:avLst/>
              <a:gdLst>
                <a:gd name="T0" fmla="*/ 446 w 446"/>
                <a:gd name="T1" fmla="*/ 85 h 97"/>
                <a:gd name="T2" fmla="*/ 434 w 446"/>
                <a:gd name="T3" fmla="*/ 97 h 97"/>
                <a:gd name="T4" fmla="*/ 12 w 446"/>
                <a:gd name="T5" fmla="*/ 97 h 97"/>
                <a:gd name="T6" fmla="*/ 0 w 446"/>
                <a:gd name="T7" fmla="*/ 85 h 97"/>
                <a:gd name="T8" fmla="*/ 0 w 446"/>
                <a:gd name="T9" fmla="*/ 12 h 97"/>
                <a:gd name="T10" fmla="*/ 12 w 446"/>
                <a:gd name="T11" fmla="*/ 0 h 97"/>
                <a:gd name="T12" fmla="*/ 434 w 446"/>
                <a:gd name="T13" fmla="*/ 0 h 97"/>
                <a:gd name="T14" fmla="*/ 446 w 446"/>
                <a:gd name="T15" fmla="*/ 12 h 97"/>
                <a:gd name="T16" fmla="*/ 446 w 446"/>
                <a:gd name="T17" fmla="*/ 8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6" h="97">
                  <a:moveTo>
                    <a:pt x="446" y="85"/>
                  </a:moveTo>
                  <a:cubicBezTo>
                    <a:pt x="446" y="92"/>
                    <a:pt x="441" y="97"/>
                    <a:pt x="434" y="97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5" y="97"/>
                    <a:pt x="0" y="92"/>
                    <a:pt x="0" y="8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441" y="0"/>
                    <a:pt x="446" y="6"/>
                    <a:pt x="446" y="12"/>
                  </a:cubicBezTo>
                  <a:lnTo>
                    <a:pt x="446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śľiďè">
              <a:extLst>
                <a:ext uri="{FF2B5EF4-FFF2-40B4-BE49-F238E27FC236}">
                  <a16:creationId xmlns:a16="http://schemas.microsoft.com/office/drawing/2014/main" id="{E3CCC0D6-F5A1-4BAE-8E60-A3B55640171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65663" y="4249738"/>
              <a:ext cx="2439988" cy="452438"/>
            </a:xfrm>
            <a:custGeom>
              <a:avLst/>
              <a:gdLst>
                <a:gd name="T0" fmla="*/ 447 w 447"/>
                <a:gd name="T1" fmla="*/ 71 h 83"/>
                <a:gd name="T2" fmla="*/ 435 w 447"/>
                <a:gd name="T3" fmla="*/ 83 h 83"/>
                <a:gd name="T4" fmla="*/ 12 w 447"/>
                <a:gd name="T5" fmla="*/ 83 h 83"/>
                <a:gd name="T6" fmla="*/ 0 w 447"/>
                <a:gd name="T7" fmla="*/ 71 h 83"/>
                <a:gd name="T8" fmla="*/ 0 w 447"/>
                <a:gd name="T9" fmla="*/ 12 h 83"/>
                <a:gd name="T10" fmla="*/ 12 w 447"/>
                <a:gd name="T11" fmla="*/ 0 h 83"/>
                <a:gd name="T12" fmla="*/ 435 w 447"/>
                <a:gd name="T13" fmla="*/ 0 h 83"/>
                <a:gd name="T14" fmla="*/ 447 w 447"/>
                <a:gd name="T15" fmla="*/ 12 h 83"/>
                <a:gd name="T16" fmla="*/ 447 w 447"/>
                <a:gd name="T17" fmla="*/ 7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7" h="83">
                  <a:moveTo>
                    <a:pt x="447" y="71"/>
                  </a:moveTo>
                  <a:cubicBezTo>
                    <a:pt x="447" y="77"/>
                    <a:pt x="441" y="83"/>
                    <a:pt x="435" y="83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6" y="83"/>
                    <a:pt x="0" y="77"/>
                    <a:pt x="0" y="7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41" y="0"/>
                    <a:pt x="447" y="6"/>
                    <a:pt x="447" y="12"/>
                  </a:cubicBezTo>
                  <a:cubicBezTo>
                    <a:pt x="447" y="71"/>
                    <a:pt x="447" y="71"/>
                    <a:pt x="447" y="7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ṥḷîďe">
              <a:extLst>
                <a:ext uri="{FF2B5EF4-FFF2-40B4-BE49-F238E27FC236}">
                  <a16:creationId xmlns:a16="http://schemas.microsoft.com/office/drawing/2014/main" id="{D0A43D6D-849B-4867-8DDF-9759869AF39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2662238"/>
              <a:ext cx="1408113" cy="65088"/>
            </a:xfrm>
            <a:prstGeom prst="rect">
              <a:avLst/>
            </a:pr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ṧľîḓe">
              <a:extLst>
                <a:ext uri="{FF2B5EF4-FFF2-40B4-BE49-F238E27FC236}">
                  <a16:creationId xmlns:a16="http://schemas.microsoft.com/office/drawing/2014/main" id="{17F6AF21-AD0A-4476-A21E-8B492C5E7FB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2787651"/>
              <a:ext cx="1627188" cy="44450"/>
            </a:xfrm>
            <a:prstGeom prst="rect">
              <a:avLst/>
            </a:prstGeom>
            <a:solidFill>
              <a:srgbClr val="4D8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şľïḓe">
              <a:extLst>
                <a:ext uri="{FF2B5EF4-FFF2-40B4-BE49-F238E27FC236}">
                  <a16:creationId xmlns:a16="http://schemas.microsoft.com/office/drawing/2014/main" id="{C9DCD32F-67F5-4106-BCB4-D5B602648EB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2913063"/>
              <a:ext cx="2058988" cy="22225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ŝļíḓê">
              <a:extLst>
                <a:ext uri="{FF2B5EF4-FFF2-40B4-BE49-F238E27FC236}">
                  <a16:creationId xmlns:a16="http://schemas.microsoft.com/office/drawing/2014/main" id="{AF784C74-A9FC-4FCD-B7F9-CD803F0C87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354388"/>
              <a:ext cx="1174750" cy="66675"/>
            </a:xfrm>
            <a:prstGeom prst="rect">
              <a:avLst/>
            </a:pr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ṡḷíḓè">
              <a:extLst>
                <a:ext uri="{FF2B5EF4-FFF2-40B4-BE49-F238E27FC236}">
                  <a16:creationId xmlns:a16="http://schemas.microsoft.com/office/drawing/2014/main" id="{3BDB861B-A885-42C9-8D15-2145582B38A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486151"/>
              <a:ext cx="1398588" cy="42863"/>
            </a:xfrm>
            <a:prstGeom prst="rect">
              <a:avLst/>
            </a:prstGeom>
            <a:solidFill>
              <a:srgbClr val="4D8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íṡļîḑe">
              <a:extLst>
                <a:ext uri="{FF2B5EF4-FFF2-40B4-BE49-F238E27FC236}">
                  <a16:creationId xmlns:a16="http://schemas.microsoft.com/office/drawing/2014/main" id="{E8669892-601E-42A7-94D7-48A7F6D71B5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611563"/>
              <a:ext cx="1857375" cy="22225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ṧḻíḓé">
              <a:extLst>
                <a:ext uri="{FF2B5EF4-FFF2-40B4-BE49-F238E27FC236}">
                  <a16:creationId xmlns:a16="http://schemas.microsoft.com/office/drawing/2014/main" id="{7DAC130D-1BA6-4C01-A85C-DD5AD71D3A5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325938"/>
              <a:ext cx="715963" cy="65088"/>
            </a:xfrm>
            <a:prstGeom prst="rect">
              <a:avLst/>
            </a:pr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iṩ1îḑé">
              <a:extLst>
                <a:ext uri="{FF2B5EF4-FFF2-40B4-BE49-F238E27FC236}">
                  <a16:creationId xmlns:a16="http://schemas.microsoft.com/office/drawing/2014/main" id="{C010107D-5A2A-4742-B8D4-EE6D67C2405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457701"/>
              <a:ext cx="1819275" cy="42863"/>
            </a:xfrm>
            <a:prstGeom prst="rect">
              <a:avLst/>
            </a:prstGeom>
            <a:solidFill>
              <a:srgbClr val="4D8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şļíďe">
              <a:extLst>
                <a:ext uri="{FF2B5EF4-FFF2-40B4-BE49-F238E27FC236}">
                  <a16:creationId xmlns:a16="http://schemas.microsoft.com/office/drawing/2014/main" id="{3E6F3A26-FF8C-4310-8656-73DE645ABF0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457701"/>
              <a:ext cx="1819275" cy="42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ṣḷiḋé">
              <a:extLst>
                <a:ext uri="{FF2B5EF4-FFF2-40B4-BE49-F238E27FC236}">
                  <a16:creationId xmlns:a16="http://schemas.microsoft.com/office/drawing/2014/main" id="{3B315FA5-71F8-423D-9AF5-286EBED47D1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583113"/>
              <a:ext cx="1911350" cy="20638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ś1ïḍè">
              <a:extLst>
                <a:ext uri="{FF2B5EF4-FFF2-40B4-BE49-F238E27FC236}">
                  <a16:creationId xmlns:a16="http://schemas.microsoft.com/office/drawing/2014/main" id="{078AA2B3-DF75-49C3-8BDD-E8E9F49FD66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583113"/>
              <a:ext cx="1911350" cy="20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ślíḓê">
              <a:extLst>
                <a:ext uri="{FF2B5EF4-FFF2-40B4-BE49-F238E27FC236}">
                  <a16:creationId xmlns:a16="http://schemas.microsoft.com/office/drawing/2014/main" id="{C8FBDB9A-F376-4B16-A51C-3EB632FD7E3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703638"/>
              <a:ext cx="1781175" cy="22225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ṧḻïḋè">
              <a:extLst>
                <a:ext uri="{FF2B5EF4-FFF2-40B4-BE49-F238E27FC236}">
                  <a16:creationId xmlns:a16="http://schemas.microsoft.com/office/drawing/2014/main" id="{746F724E-4654-44EF-BA61-8968279EB97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3006726"/>
              <a:ext cx="1839913" cy="20638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ŝḷiḑê">
              <a:extLst>
                <a:ext uri="{FF2B5EF4-FFF2-40B4-BE49-F238E27FC236}">
                  <a16:creationId xmlns:a16="http://schemas.microsoft.com/office/drawing/2014/main" id="{9FEF5D28-3EDE-42E3-B583-5949AA4DF26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61175" y="4576763"/>
              <a:ext cx="900113" cy="682625"/>
            </a:xfrm>
            <a:custGeom>
              <a:avLst/>
              <a:gdLst>
                <a:gd name="T0" fmla="*/ 567 w 567"/>
                <a:gd name="T1" fmla="*/ 0 h 430"/>
                <a:gd name="T2" fmla="*/ 454 w 567"/>
                <a:gd name="T3" fmla="*/ 430 h 430"/>
                <a:gd name="T4" fmla="*/ 351 w 567"/>
                <a:gd name="T5" fmla="*/ 430 h 430"/>
                <a:gd name="T6" fmla="*/ 285 w 567"/>
                <a:gd name="T7" fmla="*/ 169 h 430"/>
                <a:gd name="T8" fmla="*/ 216 w 567"/>
                <a:gd name="T9" fmla="*/ 430 h 430"/>
                <a:gd name="T10" fmla="*/ 113 w 567"/>
                <a:gd name="T11" fmla="*/ 430 h 430"/>
                <a:gd name="T12" fmla="*/ 0 w 567"/>
                <a:gd name="T13" fmla="*/ 0 h 430"/>
                <a:gd name="T14" fmla="*/ 99 w 567"/>
                <a:gd name="T15" fmla="*/ 0 h 430"/>
                <a:gd name="T16" fmla="*/ 172 w 567"/>
                <a:gd name="T17" fmla="*/ 275 h 430"/>
                <a:gd name="T18" fmla="*/ 244 w 567"/>
                <a:gd name="T19" fmla="*/ 0 h 430"/>
                <a:gd name="T20" fmla="*/ 333 w 567"/>
                <a:gd name="T21" fmla="*/ 0 h 430"/>
                <a:gd name="T22" fmla="*/ 402 w 567"/>
                <a:gd name="T23" fmla="*/ 275 h 430"/>
                <a:gd name="T24" fmla="*/ 474 w 567"/>
                <a:gd name="T25" fmla="*/ 0 h 430"/>
                <a:gd name="T26" fmla="*/ 567 w 567"/>
                <a:gd name="T2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7" h="430">
                  <a:moveTo>
                    <a:pt x="567" y="0"/>
                  </a:moveTo>
                  <a:lnTo>
                    <a:pt x="454" y="430"/>
                  </a:lnTo>
                  <a:lnTo>
                    <a:pt x="351" y="430"/>
                  </a:lnTo>
                  <a:lnTo>
                    <a:pt x="285" y="169"/>
                  </a:lnTo>
                  <a:lnTo>
                    <a:pt x="216" y="430"/>
                  </a:lnTo>
                  <a:lnTo>
                    <a:pt x="113" y="430"/>
                  </a:lnTo>
                  <a:lnTo>
                    <a:pt x="0" y="0"/>
                  </a:lnTo>
                  <a:lnTo>
                    <a:pt x="99" y="0"/>
                  </a:lnTo>
                  <a:lnTo>
                    <a:pt x="172" y="275"/>
                  </a:lnTo>
                  <a:lnTo>
                    <a:pt x="244" y="0"/>
                  </a:lnTo>
                  <a:lnTo>
                    <a:pt x="333" y="0"/>
                  </a:lnTo>
                  <a:lnTo>
                    <a:pt x="402" y="275"/>
                  </a:lnTo>
                  <a:lnTo>
                    <a:pt x="474" y="0"/>
                  </a:lnTo>
                  <a:lnTo>
                    <a:pt x="567" y="0"/>
                  </a:lnTo>
                  <a:close/>
                </a:path>
              </a:pathLst>
            </a:cu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šľíḓe">
              <a:extLst>
                <a:ext uri="{FF2B5EF4-FFF2-40B4-BE49-F238E27FC236}">
                  <a16:creationId xmlns:a16="http://schemas.microsoft.com/office/drawing/2014/main" id="{F5D20722-A872-4B0F-9A2E-F5060344CFB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24325" y="3470276"/>
              <a:ext cx="579438" cy="855663"/>
            </a:xfrm>
            <a:custGeom>
              <a:avLst/>
              <a:gdLst>
                <a:gd name="T0" fmla="*/ 365 w 365"/>
                <a:gd name="T1" fmla="*/ 0 h 539"/>
                <a:gd name="T2" fmla="*/ 110 w 365"/>
                <a:gd name="T3" fmla="*/ 206 h 539"/>
                <a:gd name="T4" fmla="*/ 176 w 365"/>
                <a:gd name="T5" fmla="*/ 247 h 539"/>
                <a:gd name="T6" fmla="*/ 0 w 365"/>
                <a:gd name="T7" fmla="*/ 488 h 539"/>
                <a:gd name="T8" fmla="*/ 76 w 365"/>
                <a:gd name="T9" fmla="*/ 539 h 539"/>
                <a:gd name="T10" fmla="*/ 237 w 365"/>
                <a:gd name="T11" fmla="*/ 285 h 539"/>
                <a:gd name="T12" fmla="*/ 330 w 365"/>
                <a:gd name="T13" fmla="*/ 333 h 539"/>
                <a:gd name="T14" fmla="*/ 365 w 365"/>
                <a:gd name="T15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539">
                  <a:moveTo>
                    <a:pt x="365" y="0"/>
                  </a:moveTo>
                  <a:lnTo>
                    <a:pt x="110" y="206"/>
                  </a:lnTo>
                  <a:lnTo>
                    <a:pt x="176" y="247"/>
                  </a:lnTo>
                  <a:lnTo>
                    <a:pt x="0" y="488"/>
                  </a:lnTo>
                  <a:lnTo>
                    <a:pt x="76" y="539"/>
                  </a:lnTo>
                  <a:lnTo>
                    <a:pt x="237" y="285"/>
                  </a:lnTo>
                  <a:lnTo>
                    <a:pt x="330" y="333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íşļíḋè">
              <a:extLst>
                <a:ext uri="{FF2B5EF4-FFF2-40B4-BE49-F238E27FC236}">
                  <a16:creationId xmlns:a16="http://schemas.microsoft.com/office/drawing/2014/main" id="{A4A79B8E-0F5A-4592-981D-61CD3CE1F1A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30675" y="4708526"/>
              <a:ext cx="479425" cy="479425"/>
            </a:xfrm>
            <a:custGeom>
              <a:avLst/>
              <a:gdLst>
                <a:gd name="T0" fmla="*/ 79 w 88"/>
                <a:gd name="T1" fmla="*/ 50 h 88"/>
                <a:gd name="T2" fmla="*/ 88 w 88"/>
                <a:gd name="T3" fmla="*/ 49 h 88"/>
                <a:gd name="T4" fmla="*/ 86 w 88"/>
                <a:gd name="T5" fmla="*/ 32 h 88"/>
                <a:gd name="T6" fmla="*/ 78 w 88"/>
                <a:gd name="T7" fmla="*/ 32 h 88"/>
                <a:gd name="T8" fmla="*/ 77 w 88"/>
                <a:gd name="T9" fmla="*/ 29 h 88"/>
                <a:gd name="T10" fmla="*/ 82 w 88"/>
                <a:gd name="T11" fmla="*/ 23 h 88"/>
                <a:gd name="T12" fmla="*/ 72 w 88"/>
                <a:gd name="T13" fmla="*/ 10 h 88"/>
                <a:gd name="T14" fmla="*/ 65 w 88"/>
                <a:gd name="T15" fmla="*/ 15 h 88"/>
                <a:gd name="T16" fmla="*/ 62 w 88"/>
                <a:gd name="T17" fmla="*/ 13 h 88"/>
                <a:gd name="T18" fmla="*/ 63 w 88"/>
                <a:gd name="T19" fmla="*/ 4 h 88"/>
                <a:gd name="T20" fmla="*/ 47 w 88"/>
                <a:gd name="T21" fmla="*/ 0 h 88"/>
                <a:gd name="T22" fmla="*/ 44 w 88"/>
                <a:gd name="T23" fmla="*/ 8 h 88"/>
                <a:gd name="T24" fmla="*/ 44 w 88"/>
                <a:gd name="T25" fmla="*/ 8 h 88"/>
                <a:gd name="T26" fmla="*/ 40 w 88"/>
                <a:gd name="T27" fmla="*/ 8 h 88"/>
                <a:gd name="T28" fmla="*/ 36 w 88"/>
                <a:gd name="T29" fmla="*/ 0 h 88"/>
                <a:gd name="T30" fmla="*/ 20 w 88"/>
                <a:gd name="T31" fmla="*/ 6 h 88"/>
                <a:gd name="T32" fmla="*/ 22 w 88"/>
                <a:gd name="T33" fmla="*/ 15 h 88"/>
                <a:gd name="T34" fmla="*/ 19 w 88"/>
                <a:gd name="T35" fmla="*/ 17 h 88"/>
                <a:gd name="T36" fmla="*/ 11 w 88"/>
                <a:gd name="T37" fmla="*/ 14 h 88"/>
                <a:gd name="T38" fmla="*/ 2 w 88"/>
                <a:gd name="T39" fmla="*/ 28 h 88"/>
                <a:gd name="T40" fmla="*/ 9 w 88"/>
                <a:gd name="T41" fmla="*/ 33 h 88"/>
                <a:gd name="T42" fmla="*/ 8 w 88"/>
                <a:gd name="T43" fmla="*/ 37 h 88"/>
                <a:gd name="T44" fmla="*/ 0 w 88"/>
                <a:gd name="T45" fmla="*/ 38 h 88"/>
                <a:gd name="T46" fmla="*/ 1 w 88"/>
                <a:gd name="T47" fmla="*/ 55 h 88"/>
                <a:gd name="T48" fmla="*/ 9 w 88"/>
                <a:gd name="T49" fmla="*/ 55 h 88"/>
                <a:gd name="T50" fmla="*/ 11 w 88"/>
                <a:gd name="T51" fmla="*/ 59 h 88"/>
                <a:gd name="T52" fmla="*/ 5 w 88"/>
                <a:gd name="T53" fmla="*/ 65 h 88"/>
                <a:gd name="T54" fmla="*/ 15 w 88"/>
                <a:gd name="T55" fmla="*/ 78 h 88"/>
                <a:gd name="T56" fmla="*/ 23 w 88"/>
                <a:gd name="T57" fmla="*/ 73 h 88"/>
                <a:gd name="T58" fmla="*/ 26 w 88"/>
                <a:gd name="T59" fmla="*/ 75 h 88"/>
                <a:gd name="T60" fmla="*/ 25 w 88"/>
                <a:gd name="T61" fmla="*/ 84 h 88"/>
                <a:gd name="T62" fmla="*/ 41 w 88"/>
                <a:gd name="T63" fmla="*/ 88 h 88"/>
                <a:gd name="T64" fmla="*/ 44 w 88"/>
                <a:gd name="T65" fmla="*/ 80 h 88"/>
                <a:gd name="T66" fmla="*/ 48 w 88"/>
                <a:gd name="T67" fmla="*/ 80 h 88"/>
                <a:gd name="T68" fmla="*/ 53 w 88"/>
                <a:gd name="T69" fmla="*/ 87 h 88"/>
                <a:gd name="T70" fmla="*/ 68 w 88"/>
                <a:gd name="T71" fmla="*/ 81 h 88"/>
                <a:gd name="T72" fmla="*/ 66 w 88"/>
                <a:gd name="T73" fmla="*/ 72 h 88"/>
                <a:gd name="T74" fmla="*/ 69 w 88"/>
                <a:gd name="T75" fmla="*/ 70 h 88"/>
                <a:gd name="T76" fmla="*/ 77 w 88"/>
                <a:gd name="T77" fmla="*/ 73 h 88"/>
                <a:gd name="T78" fmla="*/ 85 w 88"/>
                <a:gd name="T79" fmla="*/ 59 h 88"/>
                <a:gd name="T80" fmla="*/ 78 w 88"/>
                <a:gd name="T81" fmla="*/ 54 h 88"/>
                <a:gd name="T82" fmla="*/ 79 w 88"/>
                <a:gd name="T83" fmla="*/ 50 h 88"/>
                <a:gd name="T84" fmla="*/ 44 w 88"/>
                <a:gd name="T85" fmla="*/ 52 h 88"/>
                <a:gd name="T86" fmla="*/ 35 w 88"/>
                <a:gd name="T87" fmla="*/ 44 h 88"/>
                <a:gd name="T88" fmla="*/ 44 w 88"/>
                <a:gd name="T89" fmla="*/ 36 h 88"/>
                <a:gd name="T90" fmla="*/ 52 w 88"/>
                <a:gd name="T91" fmla="*/ 44 h 88"/>
                <a:gd name="T92" fmla="*/ 44 w 88"/>
                <a:gd name="T93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8" h="88">
                  <a:moveTo>
                    <a:pt x="79" y="50"/>
                  </a:moveTo>
                  <a:cubicBezTo>
                    <a:pt x="88" y="49"/>
                    <a:pt x="88" y="49"/>
                    <a:pt x="88" y="49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7" y="31"/>
                    <a:pt x="77" y="30"/>
                    <a:pt x="77" y="29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4" y="14"/>
                    <a:pt x="63" y="13"/>
                    <a:pt x="62" y="13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2" y="8"/>
                    <a:pt x="41" y="8"/>
                    <a:pt x="40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6"/>
                    <a:pt x="20" y="16"/>
                    <a:pt x="19" y="17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8" y="35"/>
                    <a:pt x="8" y="3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10" y="57"/>
                    <a:pt x="10" y="58"/>
                    <a:pt x="11" y="59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4" y="74"/>
                    <a:pt x="25" y="75"/>
                    <a:pt x="26" y="75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5" y="80"/>
                    <a:pt x="47" y="80"/>
                    <a:pt x="48" y="80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7" y="72"/>
                    <a:pt x="68" y="71"/>
                    <a:pt x="69" y="70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9" y="53"/>
                    <a:pt x="79" y="52"/>
                    <a:pt x="79" y="50"/>
                  </a:cubicBezTo>
                  <a:close/>
                  <a:moveTo>
                    <a:pt x="44" y="52"/>
                  </a:moveTo>
                  <a:cubicBezTo>
                    <a:pt x="39" y="52"/>
                    <a:pt x="35" y="48"/>
                    <a:pt x="35" y="44"/>
                  </a:cubicBezTo>
                  <a:cubicBezTo>
                    <a:pt x="35" y="39"/>
                    <a:pt x="39" y="36"/>
                    <a:pt x="44" y="36"/>
                  </a:cubicBezTo>
                  <a:cubicBezTo>
                    <a:pt x="48" y="36"/>
                    <a:pt x="52" y="39"/>
                    <a:pt x="52" y="44"/>
                  </a:cubicBezTo>
                  <a:cubicBezTo>
                    <a:pt x="52" y="48"/>
                    <a:pt x="48" y="52"/>
                    <a:pt x="44" y="52"/>
                  </a:cubicBezTo>
                  <a:close/>
                </a:path>
              </a:pathLst>
            </a:custGeom>
            <a:solidFill>
              <a:srgbClr val="EFC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s1îdè">
              <a:extLst>
                <a:ext uri="{FF2B5EF4-FFF2-40B4-BE49-F238E27FC236}">
                  <a16:creationId xmlns:a16="http://schemas.microsoft.com/office/drawing/2014/main" id="{F54F2F56-C5C2-4FD4-A67A-B68C1B14F95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730625" y="3786188"/>
              <a:ext cx="1201738" cy="665163"/>
            </a:xfrm>
            <a:custGeom>
              <a:avLst/>
              <a:gdLst>
                <a:gd name="T0" fmla="*/ 113 w 220"/>
                <a:gd name="T1" fmla="*/ 114 h 122"/>
                <a:gd name="T2" fmla="*/ 21 w 220"/>
                <a:gd name="T3" fmla="*/ 91 h 122"/>
                <a:gd name="T4" fmla="*/ 1 w 220"/>
                <a:gd name="T5" fmla="*/ 52 h 122"/>
                <a:gd name="T6" fmla="*/ 17 w 220"/>
                <a:gd name="T7" fmla="*/ 21 h 122"/>
                <a:gd name="T8" fmla="*/ 92 w 220"/>
                <a:gd name="T9" fmla="*/ 8 h 122"/>
                <a:gd name="T10" fmla="*/ 92 w 220"/>
                <a:gd name="T11" fmla="*/ 12 h 122"/>
                <a:gd name="T12" fmla="*/ 19 w 220"/>
                <a:gd name="T13" fmla="*/ 24 h 122"/>
                <a:gd name="T14" fmla="*/ 5 w 220"/>
                <a:gd name="T15" fmla="*/ 53 h 122"/>
                <a:gd name="T16" fmla="*/ 23 w 220"/>
                <a:gd name="T17" fmla="*/ 88 h 122"/>
                <a:gd name="T18" fmla="*/ 219 w 220"/>
                <a:gd name="T19" fmla="*/ 92 h 122"/>
                <a:gd name="T20" fmla="*/ 220 w 220"/>
                <a:gd name="T21" fmla="*/ 96 h 122"/>
                <a:gd name="T22" fmla="*/ 113 w 220"/>
                <a:gd name="T23" fmla="*/ 11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0" h="122">
                  <a:moveTo>
                    <a:pt x="113" y="114"/>
                  </a:moveTo>
                  <a:cubicBezTo>
                    <a:pt x="75" y="114"/>
                    <a:pt x="42" y="106"/>
                    <a:pt x="21" y="91"/>
                  </a:cubicBezTo>
                  <a:cubicBezTo>
                    <a:pt x="7" y="80"/>
                    <a:pt x="0" y="67"/>
                    <a:pt x="1" y="52"/>
                  </a:cubicBezTo>
                  <a:cubicBezTo>
                    <a:pt x="2" y="39"/>
                    <a:pt x="7" y="28"/>
                    <a:pt x="17" y="21"/>
                  </a:cubicBezTo>
                  <a:cubicBezTo>
                    <a:pt x="43" y="0"/>
                    <a:pt x="90" y="7"/>
                    <a:pt x="92" y="8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91" y="12"/>
                    <a:pt x="44" y="4"/>
                    <a:pt x="19" y="24"/>
                  </a:cubicBezTo>
                  <a:cubicBezTo>
                    <a:pt x="11" y="31"/>
                    <a:pt x="6" y="40"/>
                    <a:pt x="5" y="53"/>
                  </a:cubicBezTo>
                  <a:cubicBezTo>
                    <a:pt x="4" y="66"/>
                    <a:pt x="11" y="78"/>
                    <a:pt x="23" y="88"/>
                  </a:cubicBezTo>
                  <a:cubicBezTo>
                    <a:pt x="56" y="112"/>
                    <a:pt x="134" y="122"/>
                    <a:pt x="219" y="92"/>
                  </a:cubicBezTo>
                  <a:cubicBezTo>
                    <a:pt x="220" y="96"/>
                    <a:pt x="220" y="96"/>
                    <a:pt x="220" y="96"/>
                  </a:cubicBezTo>
                  <a:cubicBezTo>
                    <a:pt x="184" y="108"/>
                    <a:pt x="147" y="114"/>
                    <a:pt x="113" y="114"/>
                  </a:cubicBezTo>
                  <a:close/>
                </a:path>
              </a:pathLst>
            </a:cu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ṡ1îde">
              <a:extLst>
                <a:ext uri="{FF2B5EF4-FFF2-40B4-BE49-F238E27FC236}">
                  <a16:creationId xmlns:a16="http://schemas.microsoft.com/office/drawing/2014/main" id="{9C5B0964-740D-446A-B893-E0FE0D3C738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84725" y="4271963"/>
              <a:ext cx="203200" cy="130175"/>
            </a:xfrm>
            <a:custGeom>
              <a:avLst/>
              <a:gdLst>
                <a:gd name="T0" fmla="*/ 28 w 128"/>
                <a:gd name="T1" fmla="*/ 82 h 82"/>
                <a:gd name="T2" fmla="*/ 21 w 128"/>
                <a:gd name="T3" fmla="*/ 72 h 82"/>
                <a:gd name="T4" fmla="*/ 90 w 128"/>
                <a:gd name="T5" fmla="*/ 17 h 82"/>
                <a:gd name="T6" fmla="*/ 0 w 128"/>
                <a:gd name="T7" fmla="*/ 14 h 82"/>
                <a:gd name="T8" fmla="*/ 0 w 128"/>
                <a:gd name="T9" fmla="*/ 0 h 82"/>
                <a:gd name="T10" fmla="*/ 128 w 128"/>
                <a:gd name="T11" fmla="*/ 3 h 82"/>
                <a:gd name="T12" fmla="*/ 28 w 128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82">
                  <a:moveTo>
                    <a:pt x="28" y="82"/>
                  </a:moveTo>
                  <a:lnTo>
                    <a:pt x="21" y="72"/>
                  </a:lnTo>
                  <a:lnTo>
                    <a:pt x="90" y="17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28" y="3"/>
                  </a:lnTo>
                  <a:lnTo>
                    <a:pt x="28" y="82"/>
                  </a:lnTo>
                  <a:close/>
                </a:path>
              </a:pathLst>
            </a:cu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šlíḍé">
              <a:extLst>
                <a:ext uri="{FF2B5EF4-FFF2-40B4-BE49-F238E27FC236}">
                  <a16:creationId xmlns:a16="http://schemas.microsoft.com/office/drawing/2014/main" id="{8D9CC038-242E-475A-A932-E383C31719B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69125" y="3421063"/>
              <a:ext cx="1082675" cy="1308100"/>
            </a:xfrm>
            <a:custGeom>
              <a:avLst/>
              <a:gdLst>
                <a:gd name="T0" fmla="*/ 63 w 198"/>
                <a:gd name="T1" fmla="*/ 240 h 240"/>
                <a:gd name="T2" fmla="*/ 70 w 198"/>
                <a:gd name="T3" fmla="*/ 236 h 240"/>
                <a:gd name="T4" fmla="*/ 82 w 198"/>
                <a:gd name="T5" fmla="*/ 240 h 240"/>
                <a:gd name="T6" fmla="*/ 94 w 198"/>
                <a:gd name="T7" fmla="*/ 235 h 240"/>
                <a:gd name="T8" fmla="*/ 82 w 198"/>
                <a:gd name="T9" fmla="*/ 240 h 240"/>
                <a:gd name="T10" fmla="*/ 106 w 198"/>
                <a:gd name="T11" fmla="*/ 233 h 240"/>
                <a:gd name="T12" fmla="*/ 118 w 198"/>
                <a:gd name="T13" fmla="*/ 233 h 240"/>
                <a:gd name="T14" fmla="*/ 130 w 198"/>
                <a:gd name="T15" fmla="*/ 230 h 240"/>
                <a:gd name="T16" fmla="*/ 139 w 198"/>
                <a:gd name="T17" fmla="*/ 221 h 240"/>
                <a:gd name="T18" fmla="*/ 130 w 198"/>
                <a:gd name="T19" fmla="*/ 230 h 240"/>
                <a:gd name="T20" fmla="*/ 149 w 198"/>
                <a:gd name="T21" fmla="*/ 215 h 240"/>
                <a:gd name="T22" fmla="*/ 161 w 198"/>
                <a:gd name="T23" fmla="*/ 211 h 240"/>
                <a:gd name="T24" fmla="*/ 170 w 198"/>
                <a:gd name="T25" fmla="*/ 202 h 240"/>
                <a:gd name="T26" fmla="*/ 174 w 198"/>
                <a:gd name="T27" fmla="*/ 191 h 240"/>
                <a:gd name="T28" fmla="*/ 170 w 198"/>
                <a:gd name="T29" fmla="*/ 202 h 240"/>
                <a:gd name="T30" fmla="*/ 180 w 198"/>
                <a:gd name="T31" fmla="*/ 181 h 240"/>
                <a:gd name="T32" fmla="*/ 189 w 198"/>
                <a:gd name="T33" fmla="*/ 171 h 240"/>
                <a:gd name="T34" fmla="*/ 193 w 198"/>
                <a:gd name="T35" fmla="*/ 160 h 240"/>
                <a:gd name="T36" fmla="*/ 192 w 198"/>
                <a:gd name="T37" fmla="*/ 147 h 240"/>
                <a:gd name="T38" fmla="*/ 193 w 198"/>
                <a:gd name="T39" fmla="*/ 160 h 240"/>
                <a:gd name="T40" fmla="*/ 194 w 198"/>
                <a:gd name="T41" fmla="*/ 136 h 240"/>
                <a:gd name="T42" fmla="*/ 198 w 198"/>
                <a:gd name="T43" fmla="*/ 124 h 240"/>
                <a:gd name="T44" fmla="*/ 194 w 198"/>
                <a:gd name="T45" fmla="*/ 112 h 240"/>
                <a:gd name="T46" fmla="*/ 197 w 198"/>
                <a:gd name="T47" fmla="*/ 100 h 240"/>
                <a:gd name="T48" fmla="*/ 194 w 198"/>
                <a:gd name="T49" fmla="*/ 112 h 240"/>
                <a:gd name="T50" fmla="*/ 187 w 198"/>
                <a:gd name="T51" fmla="*/ 78 h 240"/>
                <a:gd name="T52" fmla="*/ 195 w 198"/>
                <a:gd name="T53" fmla="*/ 88 h 240"/>
                <a:gd name="T54" fmla="*/ 182 w 198"/>
                <a:gd name="T55" fmla="*/ 67 h 240"/>
                <a:gd name="T56" fmla="*/ 179 w 198"/>
                <a:gd name="T57" fmla="*/ 55 h 240"/>
                <a:gd name="T58" fmla="*/ 182 w 198"/>
                <a:gd name="T59" fmla="*/ 67 h 240"/>
                <a:gd name="T60" fmla="*/ 160 w 198"/>
                <a:gd name="T61" fmla="*/ 40 h 240"/>
                <a:gd name="T62" fmla="*/ 171 w 198"/>
                <a:gd name="T63" fmla="*/ 45 h 240"/>
                <a:gd name="T64" fmla="*/ 150 w 198"/>
                <a:gd name="T65" fmla="*/ 33 h 240"/>
                <a:gd name="T66" fmla="*/ 142 w 198"/>
                <a:gd name="T67" fmla="*/ 24 h 240"/>
                <a:gd name="T68" fmla="*/ 150 w 198"/>
                <a:gd name="T69" fmla="*/ 33 h 240"/>
                <a:gd name="T70" fmla="*/ 118 w 198"/>
                <a:gd name="T71" fmla="*/ 18 h 240"/>
                <a:gd name="T72" fmla="*/ 131 w 198"/>
                <a:gd name="T73" fmla="*/ 19 h 240"/>
                <a:gd name="T74" fmla="*/ 107 w 198"/>
                <a:gd name="T75" fmla="*/ 14 h 240"/>
                <a:gd name="T76" fmla="*/ 96 w 198"/>
                <a:gd name="T77" fmla="*/ 7 h 240"/>
                <a:gd name="T78" fmla="*/ 107 w 198"/>
                <a:gd name="T79" fmla="*/ 14 h 240"/>
                <a:gd name="T80" fmla="*/ 72 w 198"/>
                <a:gd name="T81" fmla="*/ 7 h 240"/>
                <a:gd name="T82" fmla="*/ 85 w 198"/>
                <a:gd name="T83" fmla="*/ 5 h 240"/>
                <a:gd name="T84" fmla="*/ 60 w 198"/>
                <a:gd name="T85" fmla="*/ 5 h 240"/>
                <a:gd name="T86" fmla="*/ 49 w 198"/>
                <a:gd name="T87" fmla="*/ 1 h 240"/>
                <a:gd name="T88" fmla="*/ 60 w 198"/>
                <a:gd name="T89" fmla="*/ 5 h 240"/>
                <a:gd name="T90" fmla="*/ 0 w 198"/>
                <a:gd name="T91" fmla="*/ 1 h 240"/>
                <a:gd name="T92" fmla="*/ 12 w 198"/>
                <a:gd name="T93" fmla="*/ 4 h 240"/>
                <a:gd name="T94" fmla="*/ 36 w 198"/>
                <a:gd name="T95" fmla="*/ 4 h 240"/>
                <a:gd name="T96" fmla="*/ 24 w 198"/>
                <a:gd name="T97" fmla="*/ 4 h 240"/>
                <a:gd name="T98" fmla="*/ 25 w 198"/>
                <a:gd name="T99" fmla="*/ 0 h 240"/>
                <a:gd name="T100" fmla="*/ 36 w 198"/>
                <a:gd name="T101" fmla="*/ 4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240">
                  <a:moveTo>
                    <a:pt x="70" y="240"/>
                  </a:moveTo>
                  <a:cubicBezTo>
                    <a:pt x="67" y="240"/>
                    <a:pt x="65" y="240"/>
                    <a:pt x="63" y="240"/>
                  </a:cubicBezTo>
                  <a:cubicBezTo>
                    <a:pt x="63" y="236"/>
                    <a:pt x="63" y="236"/>
                    <a:pt x="63" y="236"/>
                  </a:cubicBezTo>
                  <a:cubicBezTo>
                    <a:pt x="65" y="236"/>
                    <a:pt x="68" y="236"/>
                    <a:pt x="70" y="236"/>
                  </a:cubicBezTo>
                  <a:cubicBezTo>
                    <a:pt x="70" y="240"/>
                    <a:pt x="70" y="240"/>
                    <a:pt x="70" y="240"/>
                  </a:cubicBezTo>
                  <a:close/>
                  <a:moveTo>
                    <a:pt x="82" y="240"/>
                  </a:moveTo>
                  <a:cubicBezTo>
                    <a:pt x="82" y="236"/>
                    <a:pt x="82" y="236"/>
                    <a:pt x="82" y="236"/>
                  </a:cubicBezTo>
                  <a:cubicBezTo>
                    <a:pt x="86" y="235"/>
                    <a:pt x="90" y="235"/>
                    <a:pt x="94" y="235"/>
                  </a:cubicBezTo>
                  <a:cubicBezTo>
                    <a:pt x="94" y="239"/>
                    <a:pt x="94" y="239"/>
                    <a:pt x="94" y="239"/>
                  </a:cubicBezTo>
                  <a:cubicBezTo>
                    <a:pt x="91" y="239"/>
                    <a:pt x="86" y="239"/>
                    <a:pt x="82" y="240"/>
                  </a:cubicBezTo>
                  <a:close/>
                  <a:moveTo>
                    <a:pt x="106" y="236"/>
                  </a:moveTo>
                  <a:cubicBezTo>
                    <a:pt x="106" y="233"/>
                    <a:pt x="106" y="233"/>
                    <a:pt x="106" y="233"/>
                  </a:cubicBezTo>
                  <a:cubicBezTo>
                    <a:pt x="110" y="232"/>
                    <a:pt x="113" y="231"/>
                    <a:pt x="117" y="230"/>
                  </a:cubicBezTo>
                  <a:cubicBezTo>
                    <a:pt x="118" y="233"/>
                    <a:pt x="118" y="233"/>
                    <a:pt x="118" y="233"/>
                  </a:cubicBezTo>
                  <a:cubicBezTo>
                    <a:pt x="114" y="235"/>
                    <a:pt x="110" y="236"/>
                    <a:pt x="106" y="236"/>
                  </a:cubicBezTo>
                  <a:close/>
                  <a:moveTo>
                    <a:pt x="130" y="230"/>
                  </a:moveTo>
                  <a:cubicBezTo>
                    <a:pt x="128" y="226"/>
                    <a:pt x="128" y="226"/>
                    <a:pt x="128" y="226"/>
                  </a:cubicBezTo>
                  <a:cubicBezTo>
                    <a:pt x="132" y="224"/>
                    <a:pt x="136" y="223"/>
                    <a:pt x="139" y="221"/>
                  </a:cubicBezTo>
                  <a:cubicBezTo>
                    <a:pt x="141" y="225"/>
                    <a:pt x="141" y="225"/>
                    <a:pt x="141" y="225"/>
                  </a:cubicBezTo>
                  <a:cubicBezTo>
                    <a:pt x="137" y="226"/>
                    <a:pt x="134" y="228"/>
                    <a:pt x="130" y="230"/>
                  </a:cubicBezTo>
                  <a:close/>
                  <a:moveTo>
                    <a:pt x="151" y="218"/>
                  </a:moveTo>
                  <a:cubicBezTo>
                    <a:pt x="149" y="215"/>
                    <a:pt x="149" y="215"/>
                    <a:pt x="149" y="215"/>
                  </a:cubicBezTo>
                  <a:cubicBezTo>
                    <a:pt x="152" y="213"/>
                    <a:pt x="156" y="210"/>
                    <a:pt x="159" y="208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58" y="214"/>
                    <a:pt x="155" y="216"/>
                    <a:pt x="151" y="218"/>
                  </a:cubicBezTo>
                  <a:close/>
                  <a:moveTo>
                    <a:pt x="170" y="202"/>
                  </a:moveTo>
                  <a:cubicBezTo>
                    <a:pt x="167" y="200"/>
                    <a:pt x="167" y="200"/>
                    <a:pt x="167" y="200"/>
                  </a:cubicBezTo>
                  <a:cubicBezTo>
                    <a:pt x="170" y="197"/>
                    <a:pt x="172" y="194"/>
                    <a:pt x="174" y="19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5" y="196"/>
                    <a:pt x="173" y="199"/>
                    <a:pt x="170" y="202"/>
                  </a:cubicBezTo>
                  <a:close/>
                  <a:moveTo>
                    <a:pt x="184" y="182"/>
                  </a:moveTo>
                  <a:cubicBezTo>
                    <a:pt x="180" y="181"/>
                    <a:pt x="180" y="181"/>
                    <a:pt x="180" y="181"/>
                  </a:cubicBezTo>
                  <a:cubicBezTo>
                    <a:pt x="182" y="177"/>
                    <a:pt x="184" y="174"/>
                    <a:pt x="185" y="170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88" y="175"/>
                    <a:pt x="186" y="179"/>
                    <a:pt x="184" y="182"/>
                  </a:cubicBezTo>
                  <a:close/>
                  <a:moveTo>
                    <a:pt x="193" y="160"/>
                  </a:moveTo>
                  <a:cubicBezTo>
                    <a:pt x="189" y="159"/>
                    <a:pt x="189" y="159"/>
                    <a:pt x="189" y="159"/>
                  </a:cubicBezTo>
                  <a:cubicBezTo>
                    <a:pt x="190" y="155"/>
                    <a:pt x="191" y="151"/>
                    <a:pt x="192" y="147"/>
                  </a:cubicBezTo>
                  <a:cubicBezTo>
                    <a:pt x="196" y="148"/>
                    <a:pt x="196" y="148"/>
                    <a:pt x="196" y="148"/>
                  </a:cubicBezTo>
                  <a:cubicBezTo>
                    <a:pt x="195" y="152"/>
                    <a:pt x="194" y="156"/>
                    <a:pt x="193" y="160"/>
                  </a:cubicBezTo>
                  <a:close/>
                  <a:moveTo>
                    <a:pt x="197" y="136"/>
                  </a:moveTo>
                  <a:cubicBezTo>
                    <a:pt x="194" y="136"/>
                    <a:pt x="194" y="136"/>
                    <a:pt x="194" y="136"/>
                  </a:cubicBezTo>
                  <a:cubicBezTo>
                    <a:pt x="194" y="132"/>
                    <a:pt x="194" y="128"/>
                    <a:pt x="194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8"/>
                    <a:pt x="198" y="132"/>
                    <a:pt x="197" y="136"/>
                  </a:cubicBezTo>
                  <a:close/>
                  <a:moveTo>
                    <a:pt x="194" y="112"/>
                  </a:moveTo>
                  <a:cubicBezTo>
                    <a:pt x="194" y="108"/>
                    <a:pt x="194" y="104"/>
                    <a:pt x="193" y="100"/>
                  </a:cubicBezTo>
                  <a:cubicBezTo>
                    <a:pt x="197" y="100"/>
                    <a:pt x="197" y="100"/>
                    <a:pt x="197" y="100"/>
                  </a:cubicBezTo>
                  <a:cubicBezTo>
                    <a:pt x="198" y="104"/>
                    <a:pt x="198" y="108"/>
                    <a:pt x="198" y="112"/>
                  </a:cubicBezTo>
                  <a:lnTo>
                    <a:pt x="194" y="112"/>
                  </a:lnTo>
                  <a:close/>
                  <a:moveTo>
                    <a:pt x="191" y="89"/>
                  </a:moveTo>
                  <a:cubicBezTo>
                    <a:pt x="190" y="85"/>
                    <a:pt x="189" y="81"/>
                    <a:pt x="187" y="78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3" y="80"/>
                    <a:pt x="194" y="84"/>
                    <a:pt x="195" y="88"/>
                  </a:cubicBezTo>
                  <a:lnTo>
                    <a:pt x="191" y="89"/>
                  </a:lnTo>
                  <a:close/>
                  <a:moveTo>
                    <a:pt x="182" y="67"/>
                  </a:moveTo>
                  <a:cubicBezTo>
                    <a:pt x="180" y="64"/>
                    <a:pt x="178" y="60"/>
                    <a:pt x="176" y="57"/>
                  </a:cubicBezTo>
                  <a:cubicBezTo>
                    <a:pt x="179" y="55"/>
                    <a:pt x="179" y="55"/>
                    <a:pt x="179" y="55"/>
                  </a:cubicBezTo>
                  <a:cubicBezTo>
                    <a:pt x="182" y="58"/>
                    <a:pt x="184" y="62"/>
                    <a:pt x="186" y="65"/>
                  </a:cubicBezTo>
                  <a:lnTo>
                    <a:pt x="182" y="67"/>
                  </a:lnTo>
                  <a:close/>
                  <a:moveTo>
                    <a:pt x="168" y="48"/>
                  </a:moveTo>
                  <a:cubicBezTo>
                    <a:pt x="166" y="46"/>
                    <a:pt x="163" y="43"/>
                    <a:pt x="160" y="40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5" y="40"/>
                    <a:pt x="169" y="43"/>
                    <a:pt x="171" y="45"/>
                  </a:cubicBezTo>
                  <a:lnTo>
                    <a:pt x="168" y="48"/>
                  </a:lnTo>
                  <a:close/>
                  <a:moveTo>
                    <a:pt x="150" y="33"/>
                  </a:moveTo>
                  <a:cubicBezTo>
                    <a:pt x="147" y="31"/>
                    <a:pt x="144" y="29"/>
                    <a:pt x="140" y="27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6" y="26"/>
                    <a:pt x="149" y="28"/>
                    <a:pt x="152" y="30"/>
                  </a:cubicBezTo>
                  <a:lnTo>
                    <a:pt x="150" y="33"/>
                  </a:lnTo>
                  <a:close/>
                  <a:moveTo>
                    <a:pt x="129" y="22"/>
                  </a:moveTo>
                  <a:cubicBezTo>
                    <a:pt x="126" y="21"/>
                    <a:pt x="122" y="19"/>
                    <a:pt x="118" y="18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4" y="15"/>
                    <a:pt x="127" y="17"/>
                    <a:pt x="131" y="19"/>
                  </a:cubicBezTo>
                  <a:lnTo>
                    <a:pt x="129" y="22"/>
                  </a:lnTo>
                  <a:close/>
                  <a:moveTo>
                    <a:pt x="107" y="14"/>
                  </a:moveTo>
                  <a:cubicBezTo>
                    <a:pt x="103" y="13"/>
                    <a:pt x="99" y="12"/>
                    <a:pt x="96" y="1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100" y="8"/>
                    <a:pt x="104" y="9"/>
                    <a:pt x="108" y="10"/>
                  </a:cubicBezTo>
                  <a:lnTo>
                    <a:pt x="107" y="14"/>
                  </a:lnTo>
                  <a:close/>
                  <a:moveTo>
                    <a:pt x="84" y="9"/>
                  </a:moveTo>
                  <a:cubicBezTo>
                    <a:pt x="80" y="8"/>
                    <a:pt x="76" y="7"/>
                    <a:pt x="72" y="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7" y="3"/>
                    <a:pt x="81" y="4"/>
                    <a:pt x="85" y="5"/>
                  </a:cubicBezTo>
                  <a:lnTo>
                    <a:pt x="84" y="9"/>
                  </a:lnTo>
                  <a:close/>
                  <a:moveTo>
                    <a:pt x="60" y="5"/>
                  </a:moveTo>
                  <a:cubicBezTo>
                    <a:pt x="56" y="5"/>
                    <a:pt x="52" y="5"/>
                    <a:pt x="48" y="5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2" y="1"/>
                    <a:pt x="56" y="1"/>
                    <a:pt x="61" y="2"/>
                  </a:cubicBezTo>
                  <a:lnTo>
                    <a:pt x="60" y="5"/>
                  </a:lnTo>
                  <a:close/>
                  <a:moveTo>
                    <a:pt x="1" y="5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5" y="0"/>
                    <a:pt x="12" y="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5" y="4"/>
                    <a:pt x="1" y="5"/>
                    <a:pt x="1" y="5"/>
                  </a:cubicBezTo>
                  <a:close/>
                  <a:moveTo>
                    <a:pt x="36" y="4"/>
                  </a:moveTo>
                  <a:cubicBezTo>
                    <a:pt x="32" y="4"/>
                    <a:pt x="29" y="4"/>
                    <a:pt x="25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2" y="0"/>
                    <a:pt x="36" y="0"/>
                  </a:cubicBezTo>
                  <a:lnTo>
                    <a:pt x="36" y="4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Sḷídé">
              <a:extLst>
                <a:ext uri="{FF2B5EF4-FFF2-40B4-BE49-F238E27FC236}">
                  <a16:creationId xmlns:a16="http://schemas.microsoft.com/office/drawing/2014/main" id="{E571A66F-7F2A-4EA5-994D-74099815147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64400" y="4648201"/>
              <a:ext cx="142875" cy="147638"/>
            </a:xfrm>
            <a:custGeom>
              <a:avLst/>
              <a:gdLst>
                <a:gd name="T0" fmla="*/ 90 w 90"/>
                <a:gd name="T1" fmla="*/ 0 h 93"/>
                <a:gd name="T2" fmla="*/ 38 w 90"/>
                <a:gd name="T3" fmla="*/ 45 h 93"/>
                <a:gd name="T4" fmla="*/ 83 w 90"/>
                <a:gd name="T5" fmla="*/ 93 h 93"/>
                <a:gd name="T6" fmla="*/ 45 w 90"/>
                <a:gd name="T7" fmla="*/ 93 h 93"/>
                <a:gd name="T8" fmla="*/ 0 w 90"/>
                <a:gd name="T9" fmla="*/ 41 h 93"/>
                <a:gd name="T10" fmla="*/ 48 w 90"/>
                <a:gd name="T11" fmla="*/ 0 h 93"/>
                <a:gd name="T12" fmla="*/ 90 w 90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3">
                  <a:moveTo>
                    <a:pt x="90" y="0"/>
                  </a:moveTo>
                  <a:lnTo>
                    <a:pt x="38" y="45"/>
                  </a:lnTo>
                  <a:lnTo>
                    <a:pt x="83" y="93"/>
                  </a:lnTo>
                  <a:lnTo>
                    <a:pt x="45" y="93"/>
                  </a:lnTo>
                  <a:lnTo>
                    <a:pt x="0" y="41"/>
                  </a:lnTo>
                  <a:lnTo>
                    <a:pt x="48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$ļídê">
              <a:extLst>
                <a:ext uri="{FF2B5EF4-FFF2-40B4-BE49-F238E27FC236}">
                  <a16:creationId xmlns:a16="http://schemas.microsoft.com/office/drawing/2014/main" id="{E0078F6F-6095-4281-829B-208AB90AFF9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88163" y="2657476"/>
              <a:ext cx="557213" cy="566738"/>
            </a:xfrm>
            <a:custGeom>
              <a:avLst/>
              <a:gdLst>
                <a:gd name="T0" fmla="*/ 102 w 102"/>
                <a:gd name="T1" fmla="*/ 44 h 104"/>
                <a:gd name="T2" fmla="*/ 79 w 102"/>
                <a:gd name="T3" fmla="*/ 79 h 104"/>
                <a:gd name="T4" fmla="*/ 64 w 102"/>
                <a:gd name="T5" fmla="*/ 67 h 104"/>
                <a:gd name="T6" fmla="*/ 48 w 102"/>
                <a:gd name="T7" fmla="*/ 79 h 104"/>
                <a:gd name="T8" fmla="*/ 27 w 102"/>
                <a:gd name="T9" fmla="*/ 53 h 104"/>
                <a:gd name="T10" fmla="*/ 53 w 102"/>
                <a:gd name="T11" fmla="*/ 23 h 104"/>
                <a:gd name="T12" fmla="*/ 72 w 102"/>
                <a:gd name="T13" fmla="*/ 28 h 104"/>
                <a:gd name="T14" fmla="*/ 72 w 102"/>
                <a:gd name="T15" fmla="*/ 57 h 104"/>
                <a:gd name="T16" fmla="*/ 78 w 102"/>
                <a:gd name="T17" fmla="*/ 69 h 104"/>
                <a:gd name="T18" fmla="*/ 89 w 102"/>
                <a:gd name="T19" fmla="*/ 45 h 104"/>
                <a:gd name="T20" fmla="*/ 53 w 102"/>
                <a:gd name="T21" fmla="*/ 11 h 104"/>
                <a:gd name="T22" fmla="*/ 14 w 102"/>
                <a:gd name="T23" fmla="*/ 52 h 104"/>
                <a:gd name="T24" fmla="*/ 53 w 102"/>
                <a:gd name="T25" fmla="*/ 93 h 104"/>
                <a:gd name="T26" fmla="*/ 75 w 102"/>
                <a:gd name="T27" fmla="*/ 89 h 104"/>
                <a:gd name="T28" fmla="*/ 79 w 102"/>
                <a:gd name="T29" fmla="*/ 100 h 104"/>
                <a:gd name="T30" fmla="*/ 53 w 102"/>
                <a:gd name="T31" fmla="*/ 104 h 104"/>
                <a:gd name="T32" fmla="*/ 0 w 102"/>
                <a:gd name="T33" fmla="*/ 52 h 104"/>
                <a:gd name="T34" fmla="*/ 53 w 102"/>
                <a:gd name="T35" fmla="*/ 0 h 104"/>
                <a:gd name="T36" fmla="*/ 102 w 102"/>
                <a:gd name="T37" fmla="*/ 44 h 104"/>
                <a:gd name="T38" fmla="*/ 59 w 102"/>
                <a:gd name="T39" fmla="*/ 61 h 104"/>
                <a:gd name="T40" fmla="*/ 59 w 102"/>
                <a:gd name="T41" fmla="*/ 34 h 104"/>
                <a:gd name="T42" fmla="*/ 53 w 102"/>
                <a:gd name="T43" fmla="*/ 33 h 104"/>
                <a:gd name="T44" fmla="*/ 41 w 102"/>
                <a:gd name="T45" fmla="*/ 53 h 104"/>
                <a:gd name="T46" fmla="*/ 49 w 102"/>
                <a:gd name="T47" fmla="*/ 69 h 104"/>
                <a:gd name="T48" fmla="*/ 59 w 102"/>
                <a:gd name="T49" fmla="*/ 6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04">
                  <a:moveTo>
                    <a:pt x="102" y="44"/>
                  </a:moveTo>
                  <a:cubicBezTo>
                    <a:pt x="102" y="64"/>
                    <a:pt x="94" y="79"/>
                    <a:pt x="79" y="79"/>
                  </a:cubicBezTo>
                  <a:cubicBezTo>
                    <a:pt x="69" y="79"/>
                    <a:pt x="65" y="73"/>
                    <a:pt x="64" y="67"/>
                  </a:cubicBezTo>
                  <a:cubicBezTo>
                    <a:pt x="61" y="73"/>
                    <a:pt x="56" y="79"/>
                    <a:pt x="48" y="79"/>
                  </a:cubicBezTo>
                  <a:cubicBezTo>
                    <a:pt x="34" y="79"/>
                    <a:pt x="27" y="68"/>
                    <a:pt x="27" y="53"/>
                  </a:cubicBezTo>
                  <a:cubicBezTo>
                    <a:pt x="27" y="34"/>
                    <a:pt x="37" y="23"/>
                    <a:pt x="53" y="23"/>
                  </a:cubicBezTo>
                  <a:cubicBezTo>
                    <a:pt x="59" y="23"/>
                    <a:pt x="65" y="25"/>
                    <a:pt x="72" y="28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66"/>
                    <a:pt x="74" y="69"/>
                    <a:pt x="78" y="69"/>
                  </a:cubicBezTo>
                  <a:cubicBezTo>
                    <a:pt x="85" y="69"/>
                    <a:pt x="89" y="63"/>
                    <a:pt x="89" y="45"/>
                  </a:cubicBezTo>
                  <a:cubicBezTo>
                    <a:pt x="89" y="24"/>
                    <a:pt x="77" y="11"/>
                    <a:pt x="53" y="11"/>
                  </a:cubicBezTo>
                  <a:cubicBezTo>
                    <a:pt x="28" y="11"/>
                    <a:pt x="14" y="28"/>
                    <a:pt x="14" y="52"/>
                  </a:cubicBezTo>
                  <a:cubicBezTo>
                    <a:pt x="14" y="77"/>
                    <a:pt x="27" y="93"/>
                    <a:pt x="53" y="93"/>
                  </a:cubicBezTo>
                  <a:cubicBezTo>
                    <a:pt x="61" y="93"/>
                    <a:pt x="69" y="91"/>
                    <a:pt x="75" y="89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1" y="102"/>
                    <a:pt x="63" y="104"/>
                    <a:pt x="53" y="104"/>
                  </a:cubicBezTo>
                  <a:cubicBezTo>
                    <a:pt x="21" y="104"/>
                    <a:pt x="0" y="84"/>
                    <a:pt x="0" y="52"/>
                  </a:cubicBezTo>
                  <a:cubicBezTo>
                    <a:pt x="0" y="22"/>
                    <a:pt x="22" y="0"/>
                    <a:pt x="53" y="0"/>
                  </a:cubicBezTo>
                  <a:cubicBezTo>
                    <a:pt x="85" y="0"/>
                    <a:pt x="102" y="21"/>
                    <a:pt x="102" y="44"/>
                  </a:cubicBezTo>
                  <a:close/>
                  <a:moveTo>
                    <a:pt x="59" y="61"/>
                  </a:moveTo>
                  <a:cubicBezTo>
                    <a:pt x="59" y="34"/>
                    <a:pt x="59" y="34"/>
                    <a:pt x="59" y="34"/>
                  </a:cubicBezTo>
                  <a:cubicBezTo>
                    <a:pt x="57" y="33"/>
                    <a:pt x="55" y="33"/>
                    <a:pt x="53" y="33"/>
                  </a:cubicBezTo>
                  <a:cubicBezTo>
                    <a:pt x="45" y="33"/>
                    <a:pt x="41" y="39"/>
                    <a:pt x="41" y="53"/>
                  </a:cubicBezTo>
                  <a:cubicBezTo>
                    <a:pt x="41" y="64"/>
                    <a:pt x="44" y="69"/>
                    <a:pt x="49" y="69"/>
                  </a:cubicBezTo>
                  <a:cubicBezTo>
                    <a:pt x="55" y="69"/>
                    <a:pt x="58" y="65"/>
                    <a:pt x="59" y="61"/>
                  </a:cubicBez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şļîḍe">
              <a:extLst>
                <a:ext uri="{FF2B5EF4-FFF2-40B4-BE49-F238E27FC236}">
                  <a16:creationId xmlns:a16="http://schemas.microsoft.com/office/drawing/2014/main" id="{AF35B207-2442-4733-A6EC-07F528607C5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00525" y="3033713"/>
              <a:ext cx="38100" cy="38100"/>
            </a:xfrm>
            <a:custGeom>
              <a:avLst/>
              <a:gdLst>
                <a:gd name="T0" fmla="*/ 5 w 7"/>
                <a:gd name="T1" fmla="*/ 7 h 7"/>
                <a:gd name="T2" fmla="*/ 0 w 7"/>
                <a:gd name="T3" fmla="*/ 3 h 7"/>
                <a:gd name="T4" fmla="*/ 3 w 7"/>
                <a:gd name="T5" fmla="*/ 0 h 7"/>
                <a:gd name="T6" fmla="*/ 7 w 7"/>
                <a:gd name="T7" fmla="*/ 4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5" y="7"/>
                    <a:pt x="3" y="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2"/>
                    <a:pt x="7" y="4"/>
                    <a:pt x="7" y="4"/>
                  </a:cubicBezTo>
                  <a:lnTo>
                    <a:pt x="5" y="7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şļíďe">
              <a:extLst>
                <a:ext uri="{FF2B5EF4-FFF2-40B4-BE49-F238E27FC236}">
                  <a16:creationId xmlns:a16="http://schemas.microsoft.com/office/drawing/2014/main" id="{FA334D30-85D5-42F4-B927-1873BF7C09B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57625" y="1631951"/>
              <a:ext cx="922338" cy="1368425"/>
            </a:xfrm>
            <a:custGeom>
              <a:avLst/>
              <a:gdLst>
                <a:gd name="T0" fmla="*/ 46 w 169"/>
                <a:gd name="T1" fmla="*/ 243 h 251"/>
                <a:gd name="T2" fmla="*/ 57 w 169"/>
                <a:gd name="T3" fmla="*/ 249 h 251"/>
                <a:gd name="T4" fmla="*/ 38 w 169"/>
                <a:gd name="T5" fmla="*/ 233 h 251"/>
                <a:gd name="T6" fmla="*/ 34 w 169"/>
                <a:gd name="T7" fmla="*/ 221 h 251"/>
                <a:gd name="T8" fmla="*/ 38 w 169"/>
                <a:gd name="T9" fmla="*/ 233 h 251"/>
                <a:gd name="T10" fmla="*/ 18 w 169"/>
                <a:gd name="T11" fmla="*/ 203 h 251"/>
                <a:gd name="T12" fmla="*/ 27 w 169"/>
                <a:gd name="T13" fmla="*/ 211 h 251"/>
                <a:gd name="T14" fmla="*/ 12 w 169"/>
                <a:gd name="T15" fmla="*/ 192 h 251"/>
                <a:gd name="T16" fmla="*/ 12 w 169"/>
                <a:gd name="T17" fmla="*/ 179 h 251"/>
                <a:gd name="T18" fmla="*/ 12 w 169"/>
                <a:gd name="T19" fmla="*/ 192 h 251"/>
                <a:gd name="T20" fmla="*/ 2 w 169"/>
                <a:gd name="T21" fmla="*/ 156 h 251"/>
                <a:gd name="T22" fmla="*/ 8 w 169"/>
                <a:gd name="T23" fmla="*/ 167 h 251"/>
                <a:gd name="T24" fmla="*/ 0 w 169"/>
                <a:gd name="T25" fmla="*/ 144 h 251"/>
                <a:gd name="T26" fmla="*/ 0 w 169"/>
                <a:gd name="T27" fmla="*/ 132 h 251"/>
                <a:gd name="T28" fmla="*/ 4 w 169"/>
                <a:gd name="T29" fmla="*/ 135 h 251"/>
                <a:gd name="T30" fmla="*/ 0 w 169"/>
                <a:gd name="T31" fmla="*/ 144 h 251"/>
                <a:gd name="T32" fmla="*/ 1 w 169"/>
                <a:gd name="T33" fmla="*/ 120 h 251"/>
                <a:gd name="T34" fmla="*/ 7 w 169"/>
                <a:gd name="T35" fmla="*/ 108 h 251"/>
                <a:gd name="T36" fmla="*/ 10 w 169"/>
                <a:gd name="T37" fmla="*/ 97 h 251"/>
                <a:gd name="T38" fmla="*/ 10 w 169"/>
                <a:gd name="T39" fmla="*/ 84 h 251"/>
                <a:gd name="T40" fmla="*/ 10 w 169"/>
                <a:gd name="T41" fmla="*/ 97 h 251"/>
                <a:gd name="T42" fmla="*/ 15 w 169"/>
                <a:gd name="T43" fmla="*/ 73 h 251"/>
                <a:gd name="T44" fmla="*/ 24 w 169"/>
                <a:gd name="T45" fmla="*/ 64 h 251"/>
                <a:gd name="T46" fmla="*/ 31 w 169"/>
                <a:gd name="T47" fmla="*/ 54 h 251"/>
                <a:gd name="T48" fmla="*/ 35 w 169"/>
                <a:gd name="T49" fmla="*/ 42 h 251"/>
                <a:gd name="T50" fmla="*/ 31 w 169"/>
                <a:gd name="T51" fmla="*/ 54 h 251"/>
                <a:gd name="T52" fmla="*/ 43 w 169"/>
                <a:gd name="T53" fmla="*/ 33 h 251"/>
                <a:gd name="T54" fmla="*/ 55 w 169"/>
                <a:gd name="T55" fmla="*/ 28 h 251"/>
                <a:gd name="T56" fmla="*/ 65 w 169"/>
                <a:gd name="T57" fmla="*/ 21 h 251"/>
                <a:gd name="T58" fmla="*/ 73 w 169"/>
                <a:gd name="T59" fmla="*/ 12 h 251"/>
                <a:gd name="T60" fmla="*/ 65 w 169"/>
                <a:gd name="T61" fmla="*/ 21 h 251"/>
                <a:gd name="T62" fmla="*/ 85 w 169"/>
                <a:gd name="T63" fmla="*/ 7 h 251"/>
                <a:gd name="T64" fmla="*/ 97 w 169"/>
                <a:gd name="T65" fmla="*/ 7 h 251"/>
                <a:gd name="T66" fmla="*/ 168 w 169"/>
                <a:gd name="T67" fmla="*/ 8 h 251"/>
                <a:gd name="T68" fmla="*/ 157 w 169"/>
                <a:gd name="T69" fmla="*/ 2 h 251"/>
                <a:gd name="T70" fmla="*/ 168 w 169"/>
                <a:gd name="T71" fmla="*/ 8 h 251"/>
                <a:gd name="T72" fmla="*/ 108 w 169"/>
                <a:gd name="T73" fmla="*/ 1 h 251"/>
                <a:gd name="T74" fmla="*/ 121 w 169"/>
                <a:gd name="T75" fmla="*/ 4 h 251"/>
                <a:gd name="T76" fmla="*/ 145 w 169"/>
                <a:gd name="T77" fmla="*/ 4 h 251"/>
                <a:gd name="T78" fmla="*/ 133 w 169"/>
                <a:gd name="T79" fmla="*/ 0 h 251"/>
                <a:gd name="T80" fmla="*/ 145 w 169"/>
                <a:gd name="T81" fmla="*/ 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9" h="251">
                  <a:moveTo>
                    <a:pt x="54" y="251"/>
                  </a:moveTo>
                  <a:cubicBezTo>
                    <a:pt x="51" y="249"/>
                    <a:pt x="49" y="246"/>
                    <a:pt x="46" y="243"/>
                  </a:cubicBezTo>
                  <a:cubicBezTo>
                    <a:pt x="49" y="240"/>
                    <a:pt x="49" y="240"/>
                    <a:pt x="49" y="240"/>
                  </a:cubicBezTo>
                  <a:cubicBezTo>
                    <a:pt x="52" y="243"/>
                    <a:pt x="54" y="246"/>
                    <a:pt x="57" y="249"/>
                  </a:cubicBezTo>
                  <a:lnTo>
                    <a:pt x="54" y="251"/>
                  </a:lnTo>
                  <a:close/>
                  <a:moveTo>
                    <a:pt x="38" y="233"/>
                  </a:moveTo>
                  <a:cubicBezTo>
                    <a:pt x="35" y="230"/>
                    <a:pt x="33" y="227"/>
                    <a:pt x="31" y="223"/>
                  </a:cubicBezTo>
                  <a:cubicBezTo>
                    <a:pt x="34" y="221"/>
                    <a:pt x="34" y="221"/>
                    <a:pt x="34" y="221"/>
                  </a:cubicBezTo>
                  <a:cubicBezTo>
                    <a:pt x="36" y="224"/>
                    <a:pt x="39" y="228"/>
                    <a:pt x="41" y="231"/>
                  </a:cubicBezTo>
                  <a:lnTo>
                    <a:pt x="38" y="233"/>
                  </a:lnTo>
                  <a:close/>
                  <a:moveTo>
                    <a:pt x="24" y="213"/>
                  </a:moveTo>
                  <a:cubicBezTo>
                    <a:pt x="22" y="210"/>
                    <a:pt x="20" y="206"/>
                    <a:pt x="18" y="203"/>
                  </a:cubicBezTo>
                  <a:cubicBezTo>
                    <a:pt x="21" y="201"/>
                    <a:pt x="21" y="201"/>
                    <a:pt x="21" y="201"/>
                  </a:cubicBezTo>
                  <a:cubicBezTo>
                    <a:pt x="23" y="204"/>
                    <a:pt x="25" y="208"/>
                    <a:pt x="27" y="211"/>
                  </a:cubicBezTo>
                  <a:lnTo>
                    <a:pt x="24" y="213"/>
                  </a:lnTo>
                  <a:close/>
                  <a:moveTo>
                    <a:pt x="12" y="192"/>
                  </a:moveTo>
                  <a:cubicBezTo>
                    <a:pt x="11" y="188"/>
                    <a:pt x="9" y="184"/>
                    <a:pt x="8" y="180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3" y="183"/>
                    <a:pt x="15" y="186"/>
                    <a:pt x="16" y="190"/>
                  </a:cubicBezTo>
                  <a:lnTo>
                    <a:pt x="12" y="192"/>
                  </a:lnTo>
                  <a:close/>
                  <a:moveTo>
                    <a:pt x="4" y="168"/>
                  </a:moveTo>
                  <a:cubicBezTo>
                    <a:pt x="3" y="164"/>
                    <a:pt x="3" y="160"/>
                    <a:pt x="2" y="156"/>
                  </a:cubicBezTo>
                  <a:cubicBezTo>
                    <a:pt x="6" y="156"/>
                    <a:pt x="6" y="156"/>
                    <a:pt x="6" y="156"/>
                  </a:cubicBezTo>
                  <a:cubicBezTo>
                    <a:pt x="6" y="160"/>
                    <a:pt x="7" y="164"/>
                    <a:pt x="8" y="167"/>
                  </a:cubicBezTo>
                  <a:lnTo>
                    <a:pt x="4" y="168"/>
                  </a:lnTo>
                  <a:close/>
                  <a:moveTo>
                    <a:pt x="0" y="144"/>
                  </a:moveTo>
                  <a:cubicBezTo>
                    <a:pt x="0" y="141"/>
                    <a:pt x="0" y="138"/>
                    <a:pt x="0" y="135"/>
                  </a:cubicBezTo>
                  <a:cubicBezTo>
                    <a:pt x="0" y="134"/>
                    <a:pt x="0" y="133"/>
                    <a:pt x="0" y="132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4" y="133"/>
                    <a:pt x="4" y="134"/>
                    <a:pt x="4" y="135"/>
                  </a:cubicBezTo>
                  <a:cubicBezTo>
                    <a:pt x="4" y="138"/>
                    <a:pt x="4" y="141"/>
                    <a:pt x="4" y="144"/>
                  </a:cubicBezTo>
                  <a:lnTo>
                    <a:pt x="0" y="144"/>
                  </a:lnTo>
                  <a:close/>
                  <a:moveTo>
                    <a:pt x="5" y="120"/>
                  </a:moveTo>
                  <a:cubicBezTo>
                    <a:pt x="1" y="120"/>
                    <a:pt x="1" y="120"/>
                    <a:pt x="1" y="120"/>
                  </a:cubicBezTo>
                  <a:cubicBezTo>
                    <a:pt x="1" y="116"/>
                    <a:pt x="2" y="112"/>
                    <a:pt x="3" y="108"/>
                  </a:cubicBezTo>
                  <a:cubicBezTo>
                    <a:pt x="7" y="108"/>
                    <a:pt x="7" y="108"/>
                    <a:pt x="7" y="108"/>
                  </a:cubicBezTo>
                  <a:cubicBezTo>
                    <a:pt x="6" y="112"/>
                    <a:pt x="5" y="116"/>
                    <a:pt x="5" y="120"/>
                  </a:cubicBezTo>
                  <a:close/>
                  <a:moveTo>
                    <a:pt x="10" y="97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7" y="92"/>
                    <a:pt x="9" y="88"/>
                    <a:pt x="10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9"/>
                    <a:pt x="11" y="93"/>
                    <a:pt x="10" y="97"/>
                  </a:cubicBezTo>
                  <a:close/>
                  <a:moveTo>
                    <a:pt x="19" y="75"/>
                  </a:moveTo>
                  <a:cubicBezTo>
                    <a:pt x="15" y="73"/>
                    <a:pt x="15" y="73"/>
                    <a:pt x="15" y="73"/>
                  </a:cubicBezTo>
                  <a:cubicBezTo>
                    <a:pt x="17" y="69"/>
                    <a:pt x="19" y="66"/>
                    <a:pt x="21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2" y="68"/>
                    <a:pt x="20" y="71"/>
                    <a:pt x="19" y="75"/>
                  </a:cubicBezTo>
                  <a:close/>
                  <a:moveTo>
                    <a:pt x="31" y="54"/>
                  </a:moveTo>
                  <a:cubicBezTo>
                    <a:pt x="28" y="52"/>
                    <a:pt x="28" y="52"/>
                    <a:pt x="28" y="52"/>
                  </a:cubicBezTo>
                  <a:cubicBezTo>
                    <a:pt x="30" y="48"/>
                    <a:pt x="32" y="45"/>
                    <a:pt x="35" y="42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6" y="47"/>
                    <a:pt x="33" y="51"/>
                    <a:pt x="31" y="54"/>
                  </a:cubicBezTo>
                  <a:close/>
                  <a:moveTo>
                    <a:pt x="46" y="36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6" y="30"/>
                    <a:pt x="49" y="27"/>
                    <a:pt x="52" y="25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2" y="30"/>
                    <a:pt x="49" y="33"/>
                    <a:pt x="46" y="36"/>
                  </a:cubicBezTo>
                  <a:close/>
                  <a:moveTo>
                    <a:pt x="65" y="21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66" y="15"/>
                    <a:pt x="70" y="13"/>
                    <a:pt x="73" y="12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1" y="17"/>
                    <a:pt x="68" y="19"/>
                    <a:pt x="65" y="21"/>
                  </a:cubicBezTo>
                  <a:close/>
                  <a:moveTo>
                    <a:pt x="86" y="11"/>
                  </a:moveTo>
                  <a:cubicBezTo>
                    <a:pt x="85" y="7"/>
                    <a:pt x="85" y="7"/>
                    <a:pt x="85" y="7"/>
                  </a:cubicBezTo>
                  <a:cubicBezTo>
                    <a:pt x="88" y="5"/>
                    <a:pt x="92" y="4"/>
                    <a:pt x="96" y="3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3" y="8"/>
                    <a:pt x="90" y="9"/>
                    <a:pt x="86" y="11"/>
                  </a:cubicBezTo>
                  <a:close/>
                  <a:moveTo>
                    <a:pt x="168" y="8"/>
                  </a:moveTo>
                  <a:cubicBezTo>
                    <a:pt x="164" y="7"/>
                    <a:pt x="161" y="6"/>
                    <a:pt x="157" y="6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61" y="2"/>
                    <a:pt x="165" y="3"/>
                    <a:pt x="169" y="4"/>
                  </a:cubicBezTo>
                  <a:lnTo>
                    <a:pt x="168" y="8"/>
                  </a:lnTo>
                  <a:close/>
                  <a:moveTo>
                    <a:pt x="109" y="5"/>
                  </a:moveTo>
                  <a:cubicBezTo>
                    <a:pt x="108" y="1"/>
                    <a:pt x="108" y="1"/>
                    <a:pt x="108" y="1"/>
                  </a:cubicBezTo>
                  <a:cubicBezTo>
                    <a:pt x="112" y="0"/>
                    <a:pt x="117" y="0"/>
                    <a:pt x="121" y="0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17" y="4"/>
                    <a:pt x="113" y="4"/>
                    <a:pt x="109" y="5"/>
                  </a:cubicBezTo>
                  <a:close/>
                  <a:moveTo>
                    <a:pt x="145" y="4"/>
                  </a:moveTo>
                  <a:cubicBezTo>
                    <a:pt x="141" y="4"/>
                    <a:pt x="137" y="4"/>
                    <a:pt x="133" y="4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37" y="0"/>
                    <a:pt x="141" y="0"/>
                    <a:pt x="145" y="0"/>
                  </a:cubicBezTo>
                  <a:lnTo>
                    <a:pt x="145" y="4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îśḷídê">
              <a:extLst>
                <a:ext uri="{FF2B5EF4-FFF2-40B4-BE49-F238E27FC236}">
                  <a16:creationId xmlns:a16="http://schemas.microsoft.com/office/drawing/2014/main" id="{9E42861B-EF3C-4A99-8637-29EE9E2F878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40288" y="1670051"/>
              <a:ext cx="38100" cy="26988"/>
            </a:xfrm>
            <a:custGeom>
              <a:avLst/>
              <a:gdLst>
                <a:gd name="T0" fmla="*/ 6 w 7"/>
                <a:gd name="T1" fmla="*/ 5 h 5"/>
                <a:gd name="T2" fmla="*/ 0 w 7"/>
                <a:gd name="T3" fmla="*/ 4 h 5"/>
                <a:gd name="T4" fmla="*/ 1 w 7"/>
                <a:gd name="T5" fmla="*/ 0 h 5"/>
                <a:gd name="T6" fmla="*/ 7 w 7"/>
                <a:gd name="T7" fmla="*/ 2 h 5"/>
                <a:gd name="T8" fmla="*/ 6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5"/>
                  </a:moveTo>
                  <a:cubicBezTo>
                    <a:pt x="4" y="5"/>
                    <a:pt x="2" y="4"/>
                    <a:pt x="0" y="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5" y="1"/>
                    <a:pt x="7" y="2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şļiḍe">
              <a:extLst>
                <a:ext uri="{FF2B5EF4-FFF2-40B4-BE49-F238E27FC236}">
                  <a16:creationId xmlns:a16="http://schemas.microsoft.com/office/drawing/2014/main" id="{C6D48209-E815-4C94-BA2B-6C1AD1AF430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25988" y="1549401"/>
              <a:ext cx="223838" cy="234950"/>
            </a:xfrm>
            <a:custGeom>
              <a:avLst/>
              <a:gdLst>
                <a:gd name="T0" fmla="*/ 0 w 141"/>
                <a:gd name="T1" fmla="*/ 134 h 148"/>
                <a:gd name="T2" fmla="*/ 86 w 141"/>
                <a:gd name="T3" fmla="*/ 86 h 148"/>
                <a:gd name="T4" fmla="*/ 37 w 141"/>
                <a:gd name="T5" fmla="*/ 0 h 148"/>
                <a:gd name="T6" fmla="*/ 96 w 141"/>
                <a:gd name="T7" fmla="*/ 14 h 148"/>
                <a:gd name="T8" fmla="*/ 141 w 141"/>
                <a:gd name="T9" fmla="*/ 103 h 148"/>
                <a:gd name="T10" fmla="*/ 55 w 141"/>
                <a:gd name="T11" fmla="*/ 148 h 148"/>
                <a:gd name="T12" fmla="*/ 0 w 141"/>
                <a:gd name="T13" fmla="*/ 13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148">
                  <a:moveTo>
                    <a:pt x="0" y="134"/>
                  </a:moveTo>
                  <a:lnTo>
                    <a:pt x="86" y="86"/>
                  </a:lnTo>
                  <a:lnTo>
                    <a:pt x="37" y="0"/>
                  </a:lnTo>
                  <a:lnTo>
                    <a:pt x="96" y="14"/>
                  </a:lnTo>
                  <a:lnTo>
                    <a:pt x="141" y="103"/>
                  </a:lnTo>
                  <a:lnTo>
                    <a:pt x="55" y="148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ṡ1íḑê">
              <a:extLst>
                <a:ext uri="{FF2B5EF4-FFF2-40B4-BE49-F238E27FC236}">
                  <a16:creationId xmlns:a16="http://schemas.microsoft.com/office/drawing/2014/main" id="{5CFDB6A6-6F40-445D-9A6F-2F6C7BE90E4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78588" y="4603751"/>
              <a:ext cx="98425" cy="104775"/>
            </a:xfrm>
            <a:custGeom>
              <a:avLst/>
              <a:gdLst>
                <a:gd name="T0" fmla="*/ 38 w 62"/>
                <a:gd name="T1" fmla="*/ 0 h 66"/>
                <a:gd name="T2" fmla="*/ 62 w 62"/>
                <a:gd name="T3" fmla="*/ 66 h 66"/>
                <a:gd name="T4" fmla="*/ 0 w 62"/>
                <a:gd name="T5" fmla="*/ 21 h 66"/>
                <a:gd name="T6" fmla="*/ 38 w 6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66">
                  <a:moveTo>
                    <a:pt x="38" y="0"/>
                  </a:moveTo>
                  <a:lnTo>
                    <a:pt x="62" y="66"/>
                  </a:lnTo>
                  <a:lnTo>
                    <a:pt x="0" y="21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şlíde">
              <a:extLst>
                <a:ext uri="{FF2B5EF4-FFF2-40B4-BE49-F238E27FC236}">
                  <a16:creationId xmlns:a16="http://schemas.microsoft.com/office/drawing/2014/main" id="{D79EDA6E-5E5D-4CF2-960B-4A32E8703BA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78588" y="4603751"/>
              <a:ext cx="98425" cy="104775"/>
            </a:xfrm>
            <a:custGeom>
              <a:avLst/>
              <a:gdLst>
                <a:gd name="T0" fmla="*/ 38 w 62"/>
                <a:gd name="T1" fmla="*/ 0 h 66"/>
                <a:gd name="T2" fmla="*/ 62 w 62"/>
                <a:gd name="T3" fmla="*/ 66 h 66"/>
                <a:gd name="T4" fmla="*/ 0 w 62"/>
                <a:gd name="T5" fmla="*/ 21 h 66"/>
                <a:gd name="T6" fmla="*/ 38 w 6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66">
                  <a:moveTo>
                    <a:pt x="38" y="0"/>
                  </a:moveTo>
                  <a:lnTo>
                    <a:pt x="62" y="66"/>
                  </a:lnTo>
                  <a:lnTo>
                    <a:pt x="0" y="21"/>
                  </a:lnTo>
                  <a:lnTo>
                    <a:pt x="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ŝļidè">
              <a:extLst>
                <a:ext uri="{FF2B5EF4-FFF2-40B4-BE49-F238E27FC236}">
                  <a16:creationId xmlns:a16="http://schemas.microsoft.com/office/drawing/2014/main" id="{B1CB3D53-F43C-42D4-9DA9-64FE248355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0338" y="4614863"/>
              <a:ext cx="60325" cy="76200"/>
            </a:xfrm>
            <a:custGeom>
              <a:avLst/>
              <a:gdLst>
                <a:gd name="T0" fmla="*/ 6 w 11"/>
                <a:gd name="T1" fmla="*/ 0 h 14"/>
                <a:gd name="T2" fmla="*/ 0 w 11"/>
                <a:gd name="T3" fmla="*/ 3 h 14"/>
                <a:gd name="T4" fmla="*/ 11 w 11"/>
                <a:gd name="T5" fmla="*/ 14 h 14"/>
                <a:gd name="T6" fmla="*/ 6 w 11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4">
                  <a:moveTo>
                    <a:pt x="6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7"/>
                    <a:pt x="8" y="11"/>
                    <a:pt x="11" y="14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ïṣ1îḑé">
              <a:extLst>
                <a:ext uri="{FF2B5EF4-FFF2-40B4-BE49-F238E27FC236}">
                  <a16:creationId xmlns:a16="http://schemas.microsoft.com/office/drawing/2014/main" id="{2B0F681C-18B2-4D9A-994C-CEB85419E57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96000" y="4249738"/>
              <a:ext cx="196850" cy="120650"/>
            </a:xfrm>
            <a:custGeom>
              <a:avLst/>
              <a:gdLst>
                <a:gd name="T0" fmla="*/ 107 w 124"/>
                <a:gd name="T1" fmla="*/ 0 h 76"/>
                <a:gd name="T2" fmla="*/ 124 w 124"/>
                <a:gd name="T3" fmla="*/ 34 h 76"/>
                <a:gd name="T4" fmla="*/ 107 w 124"/>
                <a:gd name="T5" fmla="*/ 76 h 76"/>
                <a:gd name="T6" fmla="*/ 52 w 124"/>
                <a:gd name="T7" fmla="*/ 76 h 76"/>
                <a:gd name="T8" fmla="*/ 0 w 124"/>
                <a:gd name="T9" fmla="*/ 58 h 76"/>
                <a:gd name="T10" fmla="*/ 14 w 124"/>
                <a:gd name="T11" fmla="*/ 10 h 76"/>
                <a:gd name="T12" fmla="*/ 107 w 124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76">
                  <a:moveTo>
                    <a:pt x="107" y="0"/>
                  </a:moveTo>
                  <a:lnTo>
                    <a:pt x="124" y="34"/>
                  </a:lnTo>
                  <a:lnTo>
                    <a:pt x="107" y="76"/>
                  </a:lnTo>
                  <a:lnTo>
                    <a:pt x="52" y="76"/>
                  </a:lnTo>
                  <a:lnTo>
                    <a:pt x="0" y="58"/>
                  </a:lnTo>
                  <a:lnTo>
                    <a:pt x="14" y="1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ṥ1îḑe">
              <a:extLst>
                <a:ext uri="{FF2B5EF4-FFF2-40B4-BE49-F238E27FC236}">
                  <a16:creationId xmlns:a16="http://schemas.microsoft.com/office/drawing/2014/main" id="{5859D159-E81B-468E-A23F-B1F5B928879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96000" y="4249738"/>
              <a:ext cx="196850" cy="120650"/>
            </a:xfrm>
            <a:custGeom>
              <a:avLst/>
              <a:gdLst>
                <a:gd name="T0" fmla="*/ 107 w 124"/>
                <a:gd name="T1" fmla="*/ 0 h 76"/>
                <a:gd name="T2" fmla="*/ 124 w 124"/>
                <a:gd name="T3" fmla="*/ 34 h 76"/>
                <a:gd name="T4" fmla="*/ 107 w 124"/>
                <a:gd name="T5" fmla="*/ 76 h 76"/>
                <a:gd name="T6" fmla="*/ 52 w 124"/>
                <a:gd name="T7" fmla="*/ 76 h 76"/>
                <a:gd name="T8" fmla="*/ 0 w 124"/>
                <a:gd name="T9" fmla="*/ 58 h 76"/>
                <a:gd name="T10" fmla="*/ 14 w 124"/>
                <a:gd name="T11" fmla="*/ 10 h 76"/>
                <a:gd name="T12" fmla="*/ 107 w 124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76">
                  <a:moveTo>
                    <a:pt x="107" y="0"/>
                  </a:moveTo>
                  <a:lnTo>
                    <a:pt x="124" y="34"/>
                  </a:lnTo>
                  <a:lnTo>
                    <a:pt x="107" y="76"/>
                  </a:lnTo>
                  <a:lnTo>
                    <a:pt x="52" y="76"/>
                  </a:lnTo>
                  <a:lnTo>
                    <a:pt x="0" y="58"/>
                  </a:lnTo>
                  <a:lnTo>
                    <a:pt x="14" y="10"/>
                  </a:lnTo>
                  <a:lnTo>
                    <a:pt x="1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śļíďê">
              <a:extLst>
                <a:ext uri="{FF2B5EF4-FFF2-40B4-BE49-F238E27FC236}">
                  <a16:creationId xmlns:a16="http://schemas.microsoft.com/office/drawing/2014/main" id="{6C9FF4B1-9992-4431-ACDF-96A010F40FB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10300" y="4249738"/>
              <a:ext cx="76200" cy="103188"/>
            </a:xfrm>
            <a:custGeom>
              <a:avLst/>
              <a:gdLst>
                <a:gd name="T0" fmla="*/ 10 w 14"/>
                <a:gd name="T1" fmla="*/ 0 h 19"/>
                <a:gd name="T2" fmla="*/ 10 w 14"/>
                <a:gd name="T3" fmla="*/ 0 h 19"/>
                <a:gd name="T4" fmla="*/ 4 w 14"/>
                <a:gd name="T5" fmla="*/ 2 h 19"/>
                <a:gd name="T6" fmla="*/ 0 w 14"/>
                <a:gd name="T7" fmla="*/ 3 h 19"/>
                <a:gd name="T8" fmla="*/ 1 w 14"/>
                <a:gd name="T9" fmla="*/ 12 h 19"/>
                <a:gd name="T10" fmla="*/ 7 w 14"/>
                <a:gd name="T11" fmla="*/ 19 h 19"/>
                <a:gd name="T12" fmla="*/ 14 w 14"/>
                <a:gd name="T13" fmla="*/ 8 h 19"/>
                <a:gd name="T14" fmla="*/ 10 w 14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9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8" y="1"/>
                    <a:pt x="4" y="2"/>
                    <a:pt x="4" y="2"/>
                  </a:cubicBezTo>
                  <a:cubicBezTo>
                    <a:pt x="3" y="2"/>
                    <a:pt x="2" y="3"/>
                    <a:pt x="0" y="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3" y="15"/>
                    <a:pt x="14" y="9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šlîḍê">
              <a:extLst>
                <a:ext uri="{FF2B5EF4-FFF2-40B4-BE49-F238E27FC236}">
                  <a16:creationId xmlns:a16="http://schemas.microsoft.com/office/drawing/2014/main" id="{92368922-0FB8-4C51-9AC3-416C8678874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57863" y="4287838"/>
              <a:ext cx="796925" cy="644525"/>
            </a:xfrm>
            <a:custGeom>
              <a:avLst/>
              <a:gdLst>
                <a:gd name="T0" fmla="*/ 0 w 146"/>
                <a:gd name="T1" fmla="*/ 53 h 118"/>
                <a:gd name="T2" fmla="*/ 26 w 146"/>
                <a:gd name="T3" fmla="*/ 97 h 118"/>
                <a:gd name="T4" fmla="*/ 46 w 146"/>
                <a:gd name="T5" fmla="*/ 117 h 118"/>
                <a:gd name="T6" fmla="*/ 82 w 146"/>
                <a:gd name="T7" fmla="*/ 118 h 118"/>
                <a:gd name="T8" fmla="*/ 108 w 146"/>
                <a:gd name="T9" fmla="*/ 95 h 118"/>
                <a:gd name="T10" fmla="*/ 124 w 146"/>
                <a:gd name="T11" fmla="*/ 70 h 118"/>
                <a:gd name="T12" fmla="*/ 146 w 146"/>
                <a:gd name="T13" fmla="*/ 59 h 118"/>
                <a:gd name="T14" fmla="*/ 132 w 146"/>
                <a:gd name="T15" fmla="*/ 17 h 118"/>
                <a:gd name="T16" fmla="*/ 97 w 146"/>
                <a:gd name="T17" fmla="*/ 1 h 118"/>
                <a:gd name="T18" fmla="*/ 77 w 146"/>
                <a:gd name="T19" fmla="*/ 15 h 118"/>
                <a:gd name="T20" fmla="*/ 56 w 146"/>
                <a:gd name="T21" fmla="*/ 0 h 118"/>
                <a:gd name="T22" fmla="*/ 0 w 146"/>
                <a:gd name="T23" fmla="*/ 5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118">
                  <a:moveTo>
                    <a:pt x="0" y="53"/>
                  </a:moveTo>
                  <a:cubicBezTo>
                    <a:pt x="26" y="97"/>
                    <a:pt x="26" y="97"/>
                    <a:pt x="26" y="9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82" y="118"/>
                    <a:pt x="82" y="118"/>
                    <a:pt x="82" y="118"/>
                  </a:cubicBezTo>
                  <a:cubicBezTo>
                    <a:pt x="108" y="95"/>
                    <a:pt x="108" y="95"/>
                    <a:pt x="108" y="95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46" y="59"/>
                    <a:pt x="146" y="59"/>
                    <a:pt x="146" y="59"/>
                  </a:cubicBezTo>
                  <a:cubicBezTo>
                    <a:pt x="146" y="59"/>
                    <a:pt x="141" y="27"/>
                    <a:pt x="132" y="17"/>
                  </a:cubicBezTo>
                  <a:cubicBezTo>
                    <a:pt x="123" y="8"/>
                    <a:pt x="97" y="1"/>
                    <a:pt x="97" y="1"/>
                  </a:cubicBezTo>
                  <a:cubicBezTo>
                    <a:pt x="97" y="1"/>
                    <a:pt x="96" y="16"/>
                    <a:pt x="77" y="15"/>
                  </a:cubicBezTo>
                  <a:cubicBezTo>
                    <a:pt x="59" y="15"/>
                    <a:pt x="56" y="0"/>
                    <a:pt x="56" y="0"/>
                  </a:cubicBezTo>
                  <a:cubicBezTo>
                    <a:pt x="0" y="53"/>
                    <a:pt x="0" y="53"/>
                    <a:pt x="0" y="53"/>
                  </a:cubicBezTo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ṡlîdè">
              <a:extLst>
                <a:ext uri="{FF2B5EF4-FFF2-40B4-BE49-F238E27FC236}">
                  <a16:creationId xmlns:a16="http://schemas.microsoft.com/office/drawing/2014/main" id="{52102E3D-19C1-4FE7-B6DB-E8D332F46E5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48363" y="4565651"/>
              <a:ext cx="393700" cy="333375"/>
            </a:xfrm>
            <a:custGeom>
              <a:avLst/>
              <a:gdLst>
                <a:gd name="T0" fmla="*/ 47 w 72"/>
                <a:gd name="T1" fmla="*/ 26 h 61"/>
                <a:gd name="T2" fmla="*/ 44 w 72"/>
                <a:gd name="T3" fmla="*/ 27 h 61"/>
                <a:gd name="T4" fmla="*/ 41 w 72"/>
                <a:gd name="T5" fmla="*/ 27 h 61"/>
                <a:gd name="T6" fmla="*/ 7 w 72"/>
                <a:gd name="T7" fmla="*/ 46 h 61"/>
                <a:gd name="T8" fmla="*/ 0 w 72"/>
                <a:gd name="T9" fmla="*/ 45 h 61"/>
                <a:gd name="T10" fmla="*/ 10 w 72"/>
                <a:gd name="T11" fmla="*/ 58 h 61"/>
                <a:gd name="T12" fmla="*/ 15 w 72"/>
                <a:gd name="T13" fmla="*/ 61 h 61"/>
                <a:gd name="T14" fmla="*/ 17 w 72"/>
                <a:gd name="T15" fmla="*/ 61 h 61"/>
                <a:gd name="T16" fmla="*/ 19 w 72"/>
                <a:gd name="T17" fmla="*/ 60 h 61"/>
                <a:gd name="T18" fmla="*/ 20 w 72"/>
                <a:gd name="T19" fmla="*/ 61 h 61"/>
                <a:gd name="T20" fmla="*/ 24 w 72"/>
                <a:gd name="T21" fmla="*/ 61 h 61"/>
                <a:gd name="T22" fmla="*/ 46 w 72"/>
                <a:gd name="T23" fmla="*/ 60 h 61"/>
                <a:gd name="T24" fmla="*/ 44 w 72"/>
                <a:gd name="T25" fmla="*/ 43 h 61"/>
                <a:gd name="T26" fmla="*/ 47 w 72"/>
                <a:gd name="T27" fmla="*/ 26 h 61"/>
                <a:gd name="T28" fmla="*/ 67 w 72"/>
                <a:gd name="T29" fmla="*/ 0 h 61"/>
                <a:gd name="T30" fmla="*/ 56 w 72"/>
                <a:gd name="T31" fmla="*/ 12 h 61"/>
                <a:gd name="T32" fmla="*/ 56 w 72"/>
                <a:gd name="T33" fmla="*/ 12 h 61"/>
                <a:gd name="T34" fmla="*/ 55 w 72"/>
                <a:gd name="T35" fmla="*/ 17 h 61"/>
                <a:gd name="T36" fmla="*/ 64 w 72"/>
                <a:gd name="T37" fmla="*/ 17 h 61"/>
                <a:gd name="T38" fmla="*/ 72 w 72"/>
                <a:gd name="T39" fmla="*/ 16 h 61"/>
                <a:gd name="T40" fmla="*/ 72 w 72"/>
                <a:gd name="T41" fmla="*/ 16 h 61"/>
                <a:gd name="T42" fmla="*/ 67 w 72"/>
                <a:gd name="T4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2" h="61">
                  <a:moveTo>
                    <a:pt x="47" y="26"/>
                  </a:moveTo>
                  <a:cubicBezTo>
                    <a:pt x="46" y="26"/>
                    <a:pt x="45" y="27"/>
                    <a:pt x="44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28" y="42"/>
                    <a:pt x="16" y="46"/>
                    <a:pt x="7" y="46"/>
                  </a:cubicBezTo>
                  <a:cubicBezTo>
                    <a:pt x="4" y="46"/>
                    <a:pt x="2" y="46"/>
                    <a:pt x="0" y="45"/>
                  </a:cubicBezTo>
                  <a:cubicBezTo>
                    <a:pt x="5" y="52"/>
                    <a:pt x="8" y="56"/>
                    <a:pt x="10" y="58"/>
                  </a:cubicBezTo>
                  <a:cubicBezTo>
                    <a:pt x="12" y="60"/>
                    <a:pt x="13" y="61"/>
                    <a:pt x="15" y="61"/>
                  </a:cubicBezTo>
                  <a:cubicBezTo>
                    <a:pt x="15" y="61"/>
                    <a:pt x="16" y="61"/>
                    <a:pt x="17" y="61"/>
                  </a:cubicBezTo>
                  <a:cubicBezTo>
                    <a:pt x="17" y="61"/>
                    <a:pt x="18" y="60"/>
                    <a:pt x="19" y="60"/>
                  </a:cubicBezTo>
                  <a:cubicBezTo>
                    <a:pt x="19" y="60"/>
                    <a:pt x="20" y="60"/>
                    <a:pt x="20" y="61"/>
                  </a:cubicBezTo>
                  <a:cubicBezTo>
                    <a:pt x="21" y="61"/>
                    <a:pt x="22" y="61"/>
                    <a:pt x="24" y="61"/>
                  </a:cubicBezTo>
                  <a:cubicBezTo>
                    <a:pt x="30" y="61"/>
                    <a:pt x="40" y="60"/>
                    <a:pt x="46" y="60"/>
                  </a:cubicBezTo>
                  <a:cubicBezTo>
                    <a:pt x="45" y="52"/>
                    <a:pt x="44" y="46"/>
                    <a:pt x="44" y="43"/>
                  </a:cubicBezTo>
                  <a:cubicBezTo>
                    <a:pt x="44" y="38"/>
                    <a:pt x="45" y="31"/>
                    <a:pt x="47" y="26"/>
                  </a:cubicBezTo>
                  <a:moveTo>
                    <a:pt x="67" y="0"/>
                  </a:moveTo>
                  <a:cubicBezTo>
                    <a:pt x="56" y="12"/>
                    <a:pt x="56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4"/>
                    <a:pt x="56" y="16"/>
                    <a:pt x="55" y="17"/>
                  </a:cubicBezTo>
                  <a:cubicBezTo>
                    <a:pt x="59" y="17"/>
                    <a:pt x="64" y="17"/>
                    <a:pt x="64" y="17"/>
                  </a:cubicBezTo>
                  <a:cubicBezTo>
                    <a:pt x="66" y="16"/>
                    <a:pt x="68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ṣḻidé">
              <a:extLst>
                <a:ext uri="{FF2B5EF4-FFF2-40B4-BE49-F238E27FC236}">
                  <a16:creationId xmlns:a16="http://schemas.microsoft.com/office/drawing/2014/main" id="{675295BE-8CF1-4F09-8A0B-01B3B23ADAE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97575" y="3867151"/>
              <a:ext cx="371475" cy="404813"/>
            </a:xfrm>
            <a:custGeom>
              <a:avLst/>
              <a:gdLst>
                <a:gd name="T0" fmla="*/ 43 w 68"/>
                <a:gd name="T1" fmla="*/ 72 h 74"/>
                <a:gd name="T2" fmla="*/ 51 w 68"/>
                <a:gd name="T3" fmla="*/ 69 h 74"/>
                <a:gd name="T4" fmla="*/ 62 w 68"/>
                <a:gd name="T5" fmla="*/ 42 h 74"/>
                <a:gd name="T6" fmla="*/ 63 w 68"/>
                <a:gd name="T7" fmla="*/ 26 h 74"/>
                <a:gd name="T8" fmla="*/ 68 w 68"/>
                <a:gd name="T9" fmla="*/ 21 h 74"/>
                <a:gd name="T10" fmla="*/ 64 w 68"/>
                <a:gd name="T11" fmla="*/ 14 h 74"/>
                <a:gd name="T12" fmla="*/ 58 w 68"/>
                <a:gd name="T13" fmla="*/ 17 h 74"/>
                <a:gd name="T14" fmla="*/ 51 w 68"/>
                <a:gd name="T15" fmla="*/ 8 h 74"/>
                <a:gd name="T16" fmla="*/ 40 w 68"/>
                <a:gd name="T17" fmla="*/ 0 h 74"/>
                <a:gd name="T18" fmla="*/ 23 w 68"/>
                <a:gd name="T19" fmla="*/ 1 h 74"/>
                <a:gd name="T20" fmla="*/ 1 w 68"/>
                <a:gd name="T21" fmla="*/ 6 h 74"/>
                <a:gd name="T22" fmla="*/ 0 w 68"/>
                <a:gd name="T23" fmla="*/ 19 h 74"/>
                <a:gd name="T24" fmla="*/ 4 w 68"/>
                <a:gd name="T25" fmla="*/ 46 h 74"/>
                <a:gd name="T26" fmla="*/ 22 w 68"/>
                <a:gd name="T27" fmla="*/ 73 h 74"/>
                <a:gd name="T28" fmla="*/ 43 w 68"/>
                <a:gd name="T29" fmla="*/ 7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" h="74">
                  <a:moveTo>
                    <a:pt x="43" y="72"/>
                  </a:moveTo>
                  <a:cubicBezTo>
                    <a:pt x="43" y="72"/>
                    <a:pt x="50" y="71"/>
                    <a:pt x="51" y="69"/>
                  </a:cubicBezTo>
                  <a:cubicBezTo>
                    <a:pt x="53" y="66"/>
                    <a:pt x="61" y="50"/>
                    <a:pt x="62" y="42"/>
                  </a:cubicBezTo>
                  <a:cubicBezTo>
                    <a:pt x="62" y="35"/>
                    <a:pt x="63" y="26"/>
                    <a:pt x="63" y="26"/>
                  </a:cubicBezTo>
                  <a:cubicBezTo>
                    <a:pt x="63" y="26"/>
                    <a:pt x="68" y="24"/>
                    <a:pt x="68" y="21"/>
                  </a:cubicBezTo>
                  <a:cubicBezTo>
                    <a:pt x="68" y="18"/>
                    <a:pt x="66" y="14"/>
                    <a:pt x="64" y="14"/>
                  </a:cubicBezTo>
                  <a:cubicBezTo>
                    <a:pt x="63" y="14"/>
                    <a:pt x="58" y="17"/>
                    <a:pt x="58" y="17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34"/>
                    <a:pt x="4" y="46"/>
                  </a:cubicBezTo>
                  <a:cubicBezTo>
                    <a:pt x="8" y="57"/>
                    <a:pt x="22" y="73"/>
                    <a:pt x="22" y="73"/>
                  </a:cubicBezTo>
                  <a:cubicBezTo>
                    <a:pt x="22" y="73"/>
                    <a:pt x="39" y="74"/>
                    <a:pt x="43" y="72"/>
                  </a:cubicBezTo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sḷíḑe">
              <a:extLst>
                <a:ext uri="{FF2B5EF4-FFF2-40B4-BE49-F238E27FC236}">
                  <a16:creationId xmlns:a16="http://schemas.microsoft.com/office/drawing/2014/main" id="{7596F0D2-37B1-457F-93DB-A391850B170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81700" y="3779838"/>
              <a:ext cx="354013" cy="257175"/>
            </a:xfrm>
            <a:custGeom>
              <a:avLst/>
              <a:gdLst>
                <a:gd name="T0" fmla="*/ 52 w 65"/>
                <a:gd name="T1" fmla="*/ 36 h 47"/>
                <a:gd name="T2" fmla="*/ 54 w 65"/>
                <a:gd name="T3" fmla="*/ 45 h 47"/>
                <a:gd name="T4" fmla="*/ 61 w 65"/>
                <a:gd name="T5" fmla="*/ 44 h 47"/>
                <a:gd name="T6" fmla="*/ 61 w 65"/>
                <a:gd name="T7" fmla="*/ 33 h 47"/>
                <a:gd name="T8" fmla="*/ 65 w 65"/>
                <a:gd name="T9" fmla="*/ 30 h 47"/>
                <a:gd name="T10" fmla="*/ 55 w 65"/>
                <a:gd name="T11" fmla="*/ 7 h 47"/>
                <a:gd name="T12" fmla="*/ 33 w 65"/>
                <a:gd name="T13" fmla="*/ 0 h 47"/>
                <a:gd name="T14" fmla="*/ 8 w 65"/>
                <a:gd name="T15" fmla="*/ 7 h 47"/>
                <a:gd name="T16" fmla="*/ 0 w 65"/>
                <a:gd name="T17" fmla="*/ 26 h 47"/>
                <a:gd name="T18" fmla="*/ 3 w 65"/>
                <a:gd name="T19" fmla="*/ 35 h 47"/>
                <a:gd name="T20" fmla="*/ 12 w 65"/>
                <a:gd name="T21" fmla="*/ 24 h 47"/>
                <a:gd name="T22" fmla="*/ 25 w 65"/>
                <a:gd name="T23" fmla="*/ 26 h 47"/>
                <a:gd name="T24" fmla="*/ 37 w 65"/>
                <a:gd name="T25" fmla="*/ 21 h 47"/>
                <a:gd name="T26" fmla="*/ 52 w 65"/>
                <a:gd name="T2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47">
                  <a:moveTo>
                    <a:pt x="52" y="36"/>
                  </a:moveTo>
                  <a:cubicBezTo>
                    <a:pt x="52" y="36"/>
                    <a:pt x="54" y="45"/>
                    <a:pt x="54" y="45"/>
                  </a:cubicBezTo>
                  <a:cubicBezTo>
                    <a:pt x="56" y="47"/>
                    <a:pt x="61" y="44"/>
                    <a:pt x="61" y="4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5" y="30"/>
                    <a:pt x="60" y="12"/>
                    <a:pt x="55" y="7"/>
                  </a:cubicBezTo>
                  <a:cubicBezTo>
                    <a:pt x="51" y="2"/>
                    <a:pt x="43" y="0"/>
                    <a:pt x="33" y="0"/>
                  </a:cubicBezTo>
                  <a:cubicBezTo>
                    <a:pt x="25" y="0"/>
                    <a:pt x="14" y="4"/>
                    <a:pt x="8" y="7"/>
                  </a:cubicBezTo>
                  <a:cubicBezTo>
                    <a:pt x="2" y="11"/>
                    <a:pt x="0" y="21"/>
                    <a:pt x="0" y="26"/>
                  </a:cubicBezTo>
                  <a:cubicBezTo>
                    <a:pt x="0" y="32"/>
                    <a:pt x="3" y="35"/>
                    <a:pt x="3" y="35"/>
                  </a:cubicBezTo>
                  <a:cubicBezTo>
                    <a:pt x="3" y="35"/>
                    <a:pt x="3" y="26"/>
                    <a:pt x="12" y="24"/>
                  </a:cubicBezTo>
                  <a:cubicBezTo>
                    <a:pt x="20" y="22"/>
                    <a:pt x="25" y="26"/>
                    <a:pt x="25" y="26"/>
                  </a:cubicBezTo>
                  <a:cubicBezTo>
                    <a:pt x="25" y="26"/>
                    <a:pt x="30" y="21"/>
                    <a:pt x="37" y="21"/>
                  </a:cubicBezTo>
                  <a:cubicBezTo>
                    <a:pt x="44" y="20"/>
                    <a:pt x="51" y="26"/>
                    <a:pt x="52" y="36"/>
                  </a:cubicBez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ľidê">
              <a:extLst>
                <a:ext uri="{FF2B5EF4-FFF2-40B4-BE49-F238E27FC236}">
                  <a16:creationId xmlns:a16="http://schemas.microsoft.com/office/drawing/2014/main" id="{CD5AFA74-75EE-4AB5-8FC2-9166BB7A6B3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22988" y="4021138"/>
              <a:ext cx="55563" cy="114300"/>
            </a:xfrm>
            <a:custGeom>
              <a:avLst/>
              <a:gdLst>
                <a:gd name="T0" fmla="*/ 0 w 10"/>
                <a:gd name="T1" fmla="*/ 3 h 21"/>
                <a:gd name="T2" fmla="*/ 1 w 10"/>
                <a:gd name="T3" fmla="*/ 17 h 21"/>
                <a:gd name="T4" fmla="*/ 6 w 10"/>
                <a:gd name="T5" fmla="*/ 20 h 21"/>
                <a:gd name="T6" fmla="*/ 6 w 10"/>
                <a:gd name="T7" fmla="*/ 20 h 21"/>
                <a:gd name="T8" fmla="*/ 9 w 10"/>
                <a:gd name="T9" fmla="*/ 15 h 21"/>
                <a:gd name="T10" fmla="*/ 5 w 10"/>
                <a:gd name="T11" fmla="*/ 2 h 21"/>
                <a:gd name="T12" fmla="*/ 0 w 10"/>
                <a:gd name="T1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1">
                  <a:moveTo>
                    <a:pt x="0" y="3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2" y="19"/>
                    <a:pt x="4" y="21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0"/>
                    <a:pt x="10" y="17"/>
                    <a:pt x="9" y="15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DD9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şḻîďe">
              <a:extLst>
                <a:ext uri="{FF2B5EF4-FFF2-40B4-BE49-F238E27FC236}">
                  <a16:creationId xmlns:a16="http://schemas.microsoft.com/office/drawing/2014/main" id="{B3D7417A-821E-4481-8C5C-78CE8EA1B0C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00725" y="4102101"/>
              <a:ext cx="458788" cy="627063"/>
            </a:xfrm>
            <a:custGeom>
              <a:avLst/>
              <a:gdLst>
                <a:gd name="T0" fmla="*/ 24 w 84"/>
                <a:gd name="T1" fmla="*/ 115 h 115"/>
                <a:gd name="T2" fmla="*/ 71 w 84"/>
                <a:gd name="T3" fmla="*/ 112 h 115"/>
                <a:gd name="T4" fmla="*/ 83 w 84"/>
                <a:gd name="T5" fmla="*/ 97 h 115"/>
                <a:gd name="T6" fmla="*/ 72 w 84"/>
                <a:gd name="T7" fmla="*/ 11 h 115"/>
                <a:gd name="T8" fmla="*/ 59 w 84"/>
                <a:gd name="T9" fmla="*/ 0 h 115"/>
                <a:gd name="T10" fmla="*/ 12 w 84"/>
                <a:gd name="T11" fmla="*/ 4 h 115"/>
                <a:gd name="T12" fmla="*/ 1 w 84"/>
                <a:gd name="T13" fmla="*/ 18 h 115"/>
                <a:gd name="T14" fmla="*/ 11 w 84"/>
                <a:gd name="T15" fmla="*/ 103 h 115"/>
                <a:gd name="T16" fmla="*/ 24 w 84"/>
                <a:gd name="T1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15">
                  <a:moveTo>
                    <a:pt x="24" y="115"/>
                  </a:moveTo>
                  <a:cubicBezTo>
                    <a:pt x="71" y="112"/>
                    <a:pt x="71" y="112"/>
                    <a:pt x="71" y="112"/>
                  </a:cubicBezTo>
                  <a:cubicBezTo>
                    <a:pt x="78" y="111"/>
                    <a:pt x="84" y="105"/>
                    <a:pt x="83" y="97"/>
                  </a:cubicBezTo>
                  <a:cubicBezTo>
                    <a:pt x="72" y="11"/>
                    <a:pt x="72" y="11"/>
                    <a:pt x="72" y="11"/>
                  </a:cubicBezTo>
                  <a:cubicBezTo>
                    <a:pt x="72" y="5"/>
                    <a:pt x="65" y="0"/>
                    <a:pt x="59" y="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5" y="4"/>
                    <a:pt x="0" y="11"/>
                    <a:pt x="1" y="18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1" y="110"/>
                    <a:pt x="17" y="115"/>
                    <a:pt x="24" y="115"/>
                  </a:cubicBezTo>
                </a:path>
              </a:pathLst>
            </a:custGeom>
            <a:solidFill>
              <a:srgbClr val="B9BE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ṡliḓe">
              <a:extLst>
                <a:ext uri="{FF2B5EF4-FFF2-40B4-BE49-F238E27FC236}">
                  <a16:creationId xmlns:a16="http://schemas.microsoft.com/office/drawing/2014/main" id="{864929DF-CDFE-4B4B-98B7-E9D65F2E86A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38825" y="4162426"/>
              <a:ext cx="360363" cy="490538"/>
            </a:xfrm>
            <a:custGeom>
              <a:avLst/>
              <a:gdLst>
                <a:gd name="T0" fmla="*/ 47 w 66"/>
                <a:gd name="T1" fmla="*/ 0 h 90"/>
                <a:gd name="T2" fmla="*/ 46 w 66"/>
                <a:gd name="T3" fmla="*/ 0 h 90"/>
                <a:gd name="T4" fmla="*/ 10 w 66"/>
                <a:gd name="T5" fmla="*/ 3 h 90"/>
                <a:gd name="T6" fmla="*/ 1 w 66"/>
                <a:gd name="T7" fmla="*/ 14 h 90"/>
                <a:gd name="T8" fmla="*/ 3 w 66"/>
                <a:gd name="T9" fmla="*/ 34 h 90"/>
                <a:gd name="T10" fmla="*/ 17 w 66"/>
                <a:gd name="T11" fmla="*/ 24 h 90"/>
                <a:gd name="T12" fmla="*/ 17 w 66"/>
                <a:gd name="T13" fmla="*/ 24 h 90"/>
                <a:gd name="T14" fmla="*/ 28 w 66"/>
                <a:gd name="T15" fmla="*/ 32 h 90"/>
                <a:gd name="T16" fmla="*/ 28 w 66"/>
                <a:gd name="T17" fmla="*/ 42 h 90"/>
                <a:gd name="T18" fmla="*/ 8 w 66"/>
                <a:gd name="T19" fmla="*/ 76 h 90"/>
                <a:gd name="T20" fmla="*/ 9 w 66"/>
                <a:gd name="T21" fmla="*/ 81 h 90"/>
                <a:gd name="T22" fmla="*/ 19 w 66"/>
                <a:gd name="T23" fmla="*/ 90 h 90"/>
                <a:gd name="T24" fmla="*/ 19 w 66"/>
                <a:gd name="T25" fmla="*/ 90 h 90"/>
                <a:gd name="T26" fmla="*/ 56 w 66"/>
                <a:gd name="T27" fmla="*/ 87 h 90"/>
                <a:gd name="T28" fmla="*/ 65 w 66"/>
                <a:gd name="T29" fmla="*/ 76 h 90"/>
                <a:gd name="T30" fmla="*/ 57 w 66"/>
                <a:gd name="T31" fmla="*/ 9 h 90"/>
                <a:gd name="T32" fmla="*/ 47 w 66"/>
                <a:gd name="T3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90">
                  <a:moveTo>
                    <a:pt x="47" y="0"/>
                  </a:moveTo>
                  <a:cubicBezTo>
                    <a:pt x="47" y="0"/>
                    <a:pt x="47" y="0"/>
                    <a:pt x="46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5" y="3"/>
                    <a:pt x="0" y="8"/>
                    <a:pt x="1" y="1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8" y="30"/>
                    <a:pt x="15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21" y="24"/>
                    <a:pt x="26" y="29"/>
                    <a:pt x="28" y="32"/>
                  </a:cubicBezTo>
                  <a:cubicBezTo>
                    <a:pt x="29" y="34"/>
                    <a:pt x="29" y="38"/>
                    <a:pt x="28" y="42"/>
                  </a:cubicBezTo>
                  <a:cubicBezTo>
                    <a:pt x="32" y="54"/>
                    <a:pt x="17" y="69"/>
                    <a:pt x="8" y="76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86"/>
                    <a:pt x="14" y="90"/>
                    <a:pt x="19" y="90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87"/>
                    <a:pt x="66" y="82"/>
                    <a:pt x="65" y="76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4"/>
                    <a:pt x="52" y="0"/>
                    <a:pt x="47" y="0"/>
                  </a:cubicBezTo>
                </a:path>
              </a:pathLst>
            </a:custGeom>
            <a:solidFill>
              <a:srgbClr val="9EA2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ṡļîḋê">
              <a:extLst>
                <a:ext uri="{FF2B5EF4-FFF2-40B4-BE49-F238E27FC236}">
                  <a16:creationId xmlns:a16="http://schemas.microsoft.com/office/drawing/2014/main" id="{3E2DC5D9-EF10-481B-AB93-8BE82A3E12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45175" y="4538663"/>
              <a:ext cx="4763" cy="60325"/>
            </a:xfrm>
            <a:custGeom>
              <a:avLst/>
              <a:gdLst>
                <a:gd name="T0" fmla="*/ 0 w 1"/>
                <a:gd name="T1" fmla="*/ 0 h 11"/>
                <a:gd name="T2" fmla="*/ 0 w 1"/>
                <a:gd name="T3" fmla="*/ 0 h 11"/>
                <a:gd name="T4" fmla="*/ 1 w 1"/>
                <a:gd name="T5" fmla="*/ 11 h 11"/>
                <a:gd name="T6" fmla="*/ 1 w 1"/>
                <a:gd name="T7" fmla="*/ 11 h 11"/>
                <a:gd name="T8" fmla="*/ 0 w 1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Slïḑé">
              <a:extLst>
                <a:ext uri="{FF2B5EF4-FFF2-40B4-BE49-F238E27FC236}">
                  <a16:creationId xmlns:a16="http://schemas.microsoft.com/office/drawing/2014/main" id="{FAA3F3F9-F75E-4B9D-BAF0-639471AF728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45175" y="4511676"/>
              <a:ext cx="38100" cy="87313"/>
            </a:xfrm>
            <a:custGeom>
              <a:avLst/>
              <a:gdLst>
                <a:gd name="T0" fmla="*/ 6 w 7"/>
                <a:gd name="T1" fmla="*/ 0 h 16"/>
                <a:gd name="T2" fmla="*/ 0 w 7"/>
                <a:gd name="T3" fmla="*/ 5 h 16"/>
                <a:gd name="T4" fmla="*/ 1 w 7"/>
                <a:gd name="T5" fmla="*/ 16 h 16"/>
                <a:gd name="T6" fmla="*/ 7 w 7"/>
                <a:gd name="T7" fmla="*/ 12 h 16"/>
                <a:gd name="T8" fmla="*/ 6 w 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6">
                  <a:moveTo>
                    <a:pt x="6" y="0"/>
                  </a:moveTo>
                  <a:cubicBezTo>
                    <a:pt x="4" y="2"/>
                    <a:pt x="2" y="4"/>
                    <a:pt x="0" y="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4" y="14"/>
                    <a:pt x="7" y="12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9EA2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šliḓe">
              <a:extLst>
                <a:ext uri="{FF2B5EF4-FFF2-40B4-BE49-F238E27FC236}">
                  <a16:creationId xmlns:a16="http://schemas.microsoft.com/office/drawing/2014/main" id="{C714F29C-372B-4980-8BEF-6E10F71592A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76925" y="4391026"/>
              <a:ext cx="136525" cy="185738"/>
            </a:xfrm>
            <a:custGeom>
              <a:avLst/>
              <a:gdLst>
                <a:gd name="T0" fmla="*/ 21 w 25"/>
                <a:gd name="T1" fmla="*/ 0 h 34"/>
                <a:gd name="T2" fmla="*/ 19 w 25"/>
                <a:gd name="T3" fmla="*/ 4 h 34"/>
                <a:gd name="T4" fmla="*/ 0 w 25"/>
                <a:gd name="T5" fmla="*/ 22 h 34"/>
                <a:gd name="T6" fmla="*/ 1 w 25"/>
                <a:gd name="T7" fmla="*/ 34 h 34"/>
                <a:gd name="T8" fmla="*/ 21 w 25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4">
                  <a:moveTo>
                    <a:pt x="21" y="0"/>
                  </a:moveTo>
                  <a:cubicBezTo>
                    <a:pt x="20" y="1"/>
                    <a:pt x="20" y="3"/>
                    <a:pt x="19" y="4"/>
                  </a:cubicBezTo>
                  <a:cubicBezTo>
                    <a:pt x="17" y="7"/>
                    <a:pt x="8" y="15"/>
                    <a:pt x="0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0" y="27"/>
                    <a:pt x="25" y="12"/>
                    <a:pt x="21" y="0"/>
                  </a:cubicBezTo>
                </a:path>
              </a:pathLst>
            </a:custGeom>
            <a:solidFill>
              <a:srgbClr val="888B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ṧľíďe">
              <a:extLst>
                <a:ext uri="{FF2B5EF4-FFF2-40B4-BE49-F238E27FC236}">
                  <a16:creationId xmlns:a16="http://schemas.microsoft.com/office/drawing/2014/main" id="{722CBCD2-B0F4-407A-ABC5-9F8B18AE1F6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19763" y="4294188"/>
              <a:ext cx="284163" cy="288925"/>
            </a:xfrm>
            <a:custGeom>
              <a:avLst/>
              <a:gdLst>
                <a:gd name="T0" fmla="*/ 19 w 52"/>
                <a:gd name="T1" fmla="*/ 15 h 53"/>
                <a:gd name="T2" fmla="*/ 18 w 52"/>
                <a:gd name="T3" fmla="*/ 7 h 53"/>
                <a:gd name="T4" fmla="*/ 8 w 52"/>
                <a:gd name="T5" fmla="*/ 19 h 53"/>
                <a:gd name="T6" fmla="*/ 3 w 52"/>
                <a:gd name="T7" fmla="*/ 44 h 53"/>
                <a:gd name="T8" fmla="*/ 14 w 52"/>
                <a:gd name="T9" fmla="*/ 52 h 53"/>
                <a:gd name="T10" fmla="*/ 48 w 52"/>
                <a:gd name="T11" fmla="*/ 22 h 53"/>
                <a:gd name="T12" fmla="*/ 50 w 52"/>
                <a:gd name="T13" fmla="*/ 8 h 53"/>
                <a:gd name="T14" fmla="*/ 39 w 52"/>
                <a:gd name="T15" fmla="*/ 0 h 53"/>
                <a:gd name="T16" fmla="*/ 19 w 52"/>
                <a:gd name="T17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3">
                  <a:moveTo>
                    <a:pt x="19" y="15"/>
                  </a:move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1" y="16"/>
                    <a:pt x="8" y="19"/>
                  </a:cubicBezTo>
                  <a:cubicBezTo>
                    <a:pt x="4" y="23"/>
                    <a:pt x="0" y="40"/>
                    <a:pt x="3" y="44"/>
                  </a:cubicBezTo>
                  <a:cubicBezTo>
                    <a:pt x="6" y="47"/>
                    <a:pt x="10" y="53"/>
                    <a:pt x="14" y="52"/>
                  </a:cubicBezTo>
                  <a:cubicBezTo>
                    <a:pt x="18" y="50"/>
                    <a:pt x="45" y="27"/>
                    <a:pt x="48" y="22"/>
                  </a:cubicBezTo>
                  <a:cubicBezTo>
                    <a:pt x="51" y="17"/>
                    <a:pt x="52" y="11"/>
                    <a:pt x="50" y="8"/>
                  </a:cubicBezTo>
                  <a:cubicBezTo>
                    <a:pt x="48" y="4"/>
                    <a:pt x="42" y="0"/>
                    <a:pt x="39" y="0"/>
                  </a:cubicBezTo>
                  <a:cubicBezTo>
                    <a:pt x="35" y="1"/>
                    <a:pt x="19" y="15"/>
                    <a:pt x="19" y="15"/>
                  </a:cubicBezTo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îṧḷïdé">
              <a:extLst>
                <a:ext uri="{FF2B5EF4-FFF2-40B4-BE49-F238E27FC236}">
                  <a16:creationId xmlns:a16="http://schemas.microsoft.com/office/drawing/2014/main" id="{72D45B82-2E1D-4893-B409-9CA642053C5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97500" y="4500563"/>
              <a:ext cx="889000" cy="906463"/>
            </a:xfrm>
            <a:custGeom>
              <a:avLst/>
              <a:gdLst>
                <a:gd name="T0" fmla="*/ 151 w 163"/>
                <a:gd name="T1" fmla="*/ 71 h 166"/>
                <a:gd name="T2" fmla="*/ 121 w 163"/>
                <a:gd name="T3" fmla="*/ 73 h 166"/>
                <a:gd name="T4" fmla="*/ 118 w 163"/>
                <a:gd name="T5" fmla="*/ 73 h 166"/>
                <a:gd name="T6" fmla="*/ 111 w 163"/>
                <a:gd name="T7" fmla="*/ 70 h 166"/>
                <a:gd name="T8" fmla="*/ 67 w 163"/>
                <a:gd name="T9" fmla="*/ 11 h 166"/>
                <a:gd name="T10" fmla="*/ 38 w 163"/>
                <a:gd name="T11" fmla="*/ 1 h 166"/>
                <a:gd name="T12" fmla="*/ 13 w 163"/>
                <a:gd name="T13" fmla="*/ 6 h 166"/>
                <a:gd name="T14" fmla="*/ 1 w 163"/>
                <a:gd name="T15" fmla="*/ 41 h 166"/>
                <a:gd name="T16" fmla="*/ 30 w 163"/>
                <a:gd name="T17" fmla="*/ 160 h 166"/>
                <a:gd name="T18" fmla="*/ 54 w 163"/>
                <a:gd name="T19" fmla="*/ 157 h 166"/>
                <a:gd name="T20" fmla="*/ 49 w 163"/>
                <a:gd name="T21" fmla="*/ 56 h 166"/>
                <a:gd name="T22" fmla="*/ 87 w 163"/>
                <a:gd name="T23" fmla="*/ 113 h 166"/>
                <a:gd name="T24" fmla="*/ 134 w 163"/>
                <a:gd name="T25" fmla="*/ 126 h 166"/>
                <a:gd name="T26" fmla="*/ 148 w 163"/>
                <a:gd name="T27" fmla="*/ 127 h 166"/>
                <a:gd name="T28" fmla="*/ 160 w 163"/>
                <a:gd name="T29" fmla="*/ 128 h 166"/>
                <a:gd name="T30" fmla="*/ 151 w 163"/>
                <a:gd name="T31" fmla="*/ 7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3" h="166">
                  <a:moveTo>
                    <a:pt x="151" y="71"/>
                  </a:moveTo>
                  <a:cubicBezTo>
                    <a:pt x="151" y="71"/>
                    <a:pt x="127" y="73"/>
                    <a:pt x="121" y="73"/>
                  </a:cubicBezTo>
                  <a:cubicBezTo>
                    <a:pt x="120" y="72"/>
                    <a:pt x="119" y="72"/>
                    <a:pt x="118" y="73"/>
                  </a:cubicBezTo>
                  <a:cubicBezTo>
                    <a:pt x="115" y="73"/>
                    <a:pt x="114" y="73"/>
                    <a:pt x="111" y="70"/>
                  </a:cubicBezTo>
                  <a:cubicBezTo>
                    <a:pt x="106" y="65"/>
                    <a:pt x="71" y="16"/>
                    <a:pt x="67" y="11"/>
                  </a:cubicBezTo>
                  <a:cubicBezTo>
                    <a:pt x="62" y="7"/>
                    <a:pt x="46" y="2"/>
                    <a:pt x="38" y="1"/>
                  </a:cubicBezTo>
                  <a:cubicBezTo>
                    <a:pt x="30" y="0"/>
                    <a:pt x="15" y="5"/>
                    <a:pt x="13" y="6"/>
                  </a:cubicBezTo>
                  <a:cubicBezTo>
                    <a:pt x="5" y="9"/>
                    <a:pt x="0" y="30"/>
                    <a:pt x="1" y="41"/>
                  </a:cubicBezTo>
                  <a:cubicBezTo>
                    <a:pt x="1" y="48"/>
                    <a:pt x="28" y="154"/>
                    <a:pt x="30" y="160"/>
                  </a:cubicBezTo>
                  <a:cubicBezTo>
                    <a:pt x="30" y="160"/>
                    <a:pt x="42" y="166"/>
                    <a:pt x="54" y="157"/>
                  </a:cubicBezTo>
                  <a:cubicBezTo>
                    <a:pt x="54" y="157"/>
                    <a:pt x="52" y="66"/>
                    <a:pt x="49" y="56"/>
                  </a:cubicBezTo>
                  <a:cubicBezTo>
                    <a:pt x="49" y="56"/>
                    <a:pt x="67" y="93"/>
                    <a:pt x="87" y="113"/>
                  </a:cubicBezTo>
                  <a:cubicBezTo>
                    <a:pt x="107" y="133"/>
                    <a:pt x="127" y="127"/>
                    <a:pt x="134" y="126"/>
                  </a:cubicBezTo>
                  <a:cubicBezTo>
                    <a:pt x="138" y="126"/>
                    <a:pt x="143" y="126"/>
                    <a:pt x="148" y="127"/>
                  </a:cubicBezTo>
                  <a:cubicBezTo>
                    <a:pt x="154" y="127"/>
                    <a:pt x="158" y="128"/>
                    <a:pt x="160" y="128"/>
                  </a:cubicBezTo>
                  <a:cubicBezTo>
                    <a:pt x="163" y="127"/>
                    <a:pt x="151" y="71"/>
                    <a:pt x="151" y="71"/>
                  </a:cubicBezTo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ṧľîḓè">
              <a:extLst>
                <a:ext uri="{FF2B5EF4-FFF2-40B4-BE49-F238E27FC236}">
                  <a16:creationId xmlns:a16="http://schemas.microsoft.com/office/drawing/2014/main" id="{45755CCD-DB11-426D-9A2E-AF72325F4A6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24488" y="5357813"/>
              <a:ext cx="333375" cy="342900"/>
            </a:xfrm>
            <a:custGeom>
              <a:avLst/>
              <a:gdLst>
                <a:gd name="T0" fmla="*/ 25 w 61"/>
                <a:gd name="T1" fmla="*/ 3 h 63"/>
                <a:gd name="T2" fmla="*/ 16 w 61"/>
                <a:gd name="T3" fmla="*/ 25 h 63"/>
                <a:gd name="T4" fmla="*/ 4 w 61"/>
                <a:gd name="T5" fmla="*/ 50 h 63"/>
                <a:gd name="T6" fmla="*/ 5 w 61"/>
                <a:gd name="T7" fmla="*/ 59 h 63"/>
                <a:gd name="T8" fmla="*/ 18 w 61"/>
                <a:gd name="T9" fmla="*/ 61 h 63"/>
                <a:gd name="T10" fmla="*/ 39 w 61"/>
                <a:gd name="T11" fmla="*/ 41 h 63"/>
                <a:gd name="T12" fmla="*/ 52 w 61"/>
                <a:gd name="T13" fmla="*/ 31 h 63"/>
                <a:gd name="T14" fmla="*/ 61 w 61"/>
                <a:gd name="T15" fmla="*/ 26 h 63"/>
                <a:gd name="T16" fmla="*/ 57 w 61"/>
                <a:gd name="T17" fmla="*/ 10 h 63"/>
                <a:gd name="T18" fmla="*/ 49 w 61"/>
                <a:gd name="T19" fmla="*/ 0 h 63"/>
                <a:gd name="T20" fmla="*/ 25 w 61"/>
                <a:gd name="T21" fmla="*/ 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3">
                  <a:moveTo>
                    <a:pt x="25" y="3"/>
                  </a:moveTo>
                  <a:cubicBezTo>
                    <a:pt x="25" y="3"/>
                    <a:pt x="19" y="18"/>
                    <a:pt x="16" y="25"/>
                  </a:cubicBezTo>
                  <a:cubicBezTo>
                    <a:pt x="12" y="32"/>
                    <a:pt x="7" y="47"/>
                    <a:pt x="4" y="50"/>
                  </a:cubicBezTo>
                  <a:cubicBezTo>
                    <a:pt x="2" y="53"/>
                    <a:pt x="0" y="55"/>
                    <a:pt x="5" y="59"/>
                  </a:cubicBezTo>
                  <a:cubicBezTo>
                    <a:pt x="11" y="63"/>
                    <a:pt x="16" y="62"/>
                    <a:pt x="18" y="61"/>
                  </a:cubicBezTo>
                  <a:cubicBezTo>
                    <a:pt x="21" y="60"/>
                    <a:pt x="33" y="46"/>
                    <a:pt x="39" y="41"/>
                  </a:cubicBezTo>
                  <a:cubicBezTo>
                    <a:pt x="46" y="37"/>
                    <a:pt x="52" y="31"/>
                    <a:pt x="52" y="31"/>
                  </a:cubicBezTo>
                  <a:cubicBezTo>
                    <a:pt x="52" y="31"/>
                    <a:pt x="60" y="30"/>
                    <a:pt x="61" y="26"/>
                  </a:cubicBezTo>
                  <a:cubicBezTo>
                    <a:pt x="61" y="23"/>
                    <a:pt x="58" y="13"/>
                    <a:pt x="57" y="10"/>
                  </a:cubicBezTo>
                  <a:cubicBezTo>
                    <a:pt x="57" y="7"/>
                    <a:pt x="49" y="0"/>
                    <a:pt x="49" y="0"/>
                  </a:cubicBezTo>
                  <a:cubicBezTo>
                    <a:pt x="25" y="3"/>
                    <a:pt x="25" y="3"/>
                    <a:pt x="25" y="3"/>
                  </a:cubicBezTo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sḻíďê">
              <a:extLst>
                <a:ext uri="{FF2B5EF4-FFF2-40B4-BE49-F238E27FC236}">
                  <a16:creationId xmlns:a16="http://schemas.microsoft.com/office/drawing/2014/main" id="{3ECD9FDE-BF18-460A-96BB-C5E4AFB207C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11800" y="5357813"/>
              <a:ext cx="179388" cy="136525"/>
            </a:xfrm>
            <a:custGeom>
              <a:avLst/>
              <a:gdLst>
                <a:gd name="T0" fmla="*/ 33 w 33"/>
                <a:gd name="T1" fmla="*/ 0 h 25"/>
                <a:gd name="T2" fmla="*/ 9 w 33"/>
                <a:gd name="T3" fmla="*/ 3 h 25"/>
                <a:gd name="T4" fmla="*/ 0 w 33"/>
                <a:gd name="T5" fmla="*/ 25 h 25"/>
                <a:gd name="T6" fmla="*/ 32 w 33"/>
                <a:gd name="T7" fmla="*/ 4 h 25"/>
                <a:gd name="T8" fmla="*/ 33 w 3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5">
                  <a:moveTo>
                    <a:pt x="33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3" y="18"/>
                    <a:pt x="0" y="25"/>
                  </a:cubicBezTo>
                  <a:cubicBezTo>
                    <a:pt x="0" y="25"/>
                    <a:pt x="20" y="22"/>
                    <a:pt x="32" y="4"/>
                  </a:cubicBezTo>
                  <a:cubicBezTo>
                    <a:pt x="33" y="0"/>
                    <a:pt x="33" y="0"/>
                    <a:pt x="33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îṧľiḋe">
              <a:extLst>
                <a:ext uri="{FF2B5EF4-FFF2-40B4-BE49-F238E27FC236}">
                  <a16:creationId xmlns:a16="http://schemas.microsoft.com/office/drawing/2014/main" id="{DE1FE297-32BC-486C-92AE-F671AA33CE6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08725" y="5362576"/>
              <a:ext cx="387350" cy="277813"/>
            </a:xfrm>
            <a:custGeom>
              <a:avLst/>
              <a:gdLst>
                <a:gd name="T0" fmla="*/ 1 w 71"/>
                <a:gd name="T1" fmla="*/ 0 h 51"/>
                <a:gd name="T2" fmla="*/ 0 w 71"/>
                <a:gd name="T3" fmla="*/ 6 h 51"/>
                <a:gd name="T4" fmla="*/ 0 w 71"/>
                <a:gd name="T5" fmla="*/ 16 h 51"/>
                <a:gd name="T6" fmla="*/ 2 w 71"/>
                <a:gd name="T7" fmla="*/ 29 h 51"/>
                <a:gd name="T8" fmla="*/ 18 w 71"/>
                <a:gd name="T9" fmla="*/ 31 h 51"/>
                <a:gd name="T10" fmla="*/ 21 w 71"/>
                <a:gd name="T11" fmla="*/ 30 h 51"/>
                <a:gd name="T12" fmla="*/ 35 w 71"/>
                <a:gd name="T13" fmla="*/ 43 h 51"/>
                <a:gd name="T14" fmla="*/ 65 w 71"/>
                <a:gd name="T15" fmla="*/ 50 h 51"/>
                <a:gd name="T16" fmla="*/ 71 w 71"/>
                <a:gd name="T17" fmla="*/ 43 h 51"/>
                <a:gd name="T18" fmla="*/ 51 w 71"/>
                <a:gd name="T19" fmla="*/ 23 h 51"/>
                <a:gd name="T20" fmla="*/ 39 w 71"/>
                <a:gd name="T21" fmla="*/ 11 h 51"/>
                <a:gd name="T22" fmla="*/ 27 w 71"/>
                <a:gd name="T23" fmla="*/ 1 h 51"/>
                <a:gd name="T24" fmla="*/ 1 w 71"/>
                <a:gd name="T2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" h="51">
                  <a:moveTo>
                    <a:pt x="1" y="0"/>
                  </a:moveTo>
                  <a:cubicBezTo>
                    <a:pt x="1" y="0"/>
                    <a:pt x="1" y="3"/>
                    <a:pt x="0" y="6"/>
                  </a:cubicBezTo>
                  <a:cubicBezTo>
                    <a:pt x="0" y="9"/>
                    <a:pt x="0" y="13"/>
                    <a:pt x="0" y="16"/>
                  </a:cubicBezTo>
                  <a:cubicBezTo>
                    <a:pt x="0" y="21"/>
                    <a:pt x="0" y="29"/>
                    <a:pt x="2" y="29"/>
                  </a:cubicBezTo>
                  <a:cubicBezTo>
                    <a:pt x="4" y="29"/>
                    <a:pt x="14" y="32"/>
                    <a:pt x="18" y="31"/>
                  </a:cubicBezTo>
                  <a:cubicBezTo>
                    <a:pt x="21" y="30"/>
                    <a:pt x="17" y="30"/>
                    <a:pt x="21" y="30"/>
                  </a:cubicBezTo>
                  <a:cubicBezTo>
                    <a:pt x="24" y="31"/>
                    <a:pt x="31" y="39"/>
                    <a:pt x="35" y="43"/>
                  </a:cubicBezTo>
                  <a:cubicBezTo>
                    <a:pt x="38" y="47"/>
                    <a:pt x="61" y="51"/>
                    <a:pt x="65" y="50"/>
                  </a:cubicBezTo>
                  <a:cubicBezTo>
                    <a:pt x="68" y="48"/>
                    <a:pt x="71" y="45"/>
                    <a:pt x="71" y="43"/>
                  </a:cubicBezTo>
                  <a:cubicBezTo>
                    <a:pt x="71" y="41"/>
                    <a:pt x="60" y="35"/>
                    <a:pt x="51" y="23"/>
                  </a:cubicBezTo>
                  <a:cubicBezTo>
                    <a:pt x="47" y="19"/>
                    <a:pt x="43" y="15"/>
                    <a:pt x="39" y="11"/>
                  </a:cubicBezTo>
                  <a:cubicBezTo>
                    <a:pt x="33" y="5"/>
                    <a:pt x="27" y="1"/>
                    <a:pt x="27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šļiḑê">
              <a:extLst>
                <a:ext uri="{FF2B5EF4-FFF2-40B4-BE49-F238E27FC236}">
                  <a16:creationId xmlns:a16="http://schemas.microsoft.com/office/drawing/2014/main" id="{98935F51-B8C7-452D-BEFE-6111C329A4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08725" y="5362576"/>
              <a:ext cx="212725" cy="65088"/>
            </a:xfrm>
            <a:custGeom>
              <a:avLst/>
              <a:gdLst>
                <a:gd name="T0" fmla="*/ 1 w 39"/>
                <a:gd name="T1" fmla="*/ 0 h 12"/>
                <a:gd name="T2" fmla="*/ 0 w 39"/>
                <a:gd name="T3" fmla="*/ 6 h 12"/>
                <a:gd name="T4" fmla="*/ 27 w 39"/>
                <a:gd name="T5" fmla="*/ 12 h 12"/>
                <a:gd name="T6" fmla="*/ 37 w 39"/>
                <a:gd name="T7" fmla="*/ 12 h 12"/>
                <a:gd name="T8" fmla="*/ 39 w 39"/>
                <a:gd name="T9" fmla="*/ 11 h 12"/>
                <a:gd name="T10" fmla="*/ 29 w 39"/>
                <a:gd name="T11" fmla="*/ 3 h 12"/>
                <a:gd name="T12" fmla="*/ 18 w 39"/>
                <a:gd name="T13" fmla="*/ 6 h 12"/>
                <a:gd name="T14" fmla="*/ 1 w 39"/>
                <a:gd name="T15" fmla="*/ 0 h 12"/>
                <a:gd name="T16" fmla="*/ 1 w 3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12">
                  <a:moveTo>
                    <a:pt x="1" y="0"/>
                  </a:moveTo>
                  <a:cubicBezTo>
                    <a:pt x="1" y="0"/>
                    <a:pt x="1" y="3"/>
                    <a:pt x="0" y="6"/>
                  </a:cubicBezTo>
                  <a:cubicBezTo>
                    <a:pt x="0" y="6"/>
                    <a:pt x="11" y="12"/>
                    <a:pt x="27" y="12"/>
                  </a:cubicBezTo>
                  <a:cubicBezTo>
                    <a:pt x="30" y="12"/>
                    <a:pt x="34" y="12"/>
                    <a:pt x="37" y="1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5" y="7"/>
                    <a:pt x="31" y="5"/>
                    <a:pt x="29" y="3"/>
                  </a:cubicBezTo>
                  <a:cubicBezTo>
                    <a:pt x="25" y="5"/>
                    <a:pt x="22" y="6"/>
                    <a:pt x="18" y="6"/>
                  </a:cubicBezTo>
                  <a:cubicBezTo>
                    <a:pt x="8" y="6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$ľîdé">
              <a:extLst>
                <a:ext uri="{FF2B5EF4-FFF2-40B4-BE49-F238E27FC236}">
                  <a16:creationId xmlns:a16="http://schemas.microsoft.com/office/drawing/2014/main" id="{64C9C587-734E-4E3B-B9CD-7D307AFBEF0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88075" y="4648201"/>
              <a:ext cx="312738" cy="774700"/>
            </a:xfrm>
            <a:custGeom>
              <a:avLst/>
              <a:gdLst>
                <a:gd name="T0" fmla="*/ 20 w 57"/>
                <a:gd name="T1" fmla="*/ 2 h 142"/>
                <a:gd name="T2" fmla="*/ 7 w 57"/>
                <a:gd name="T3" fmla="*/ 4 h 142"/>
                <a:gd name="T4" fmla="*/ 0 w 57"/>
                <a:gd name="T5" fmla="*/ 28 h 142"/>
                <a:gd name="T6" fmla="*/ 23 w 57"/>
                <a:gd name="T7" fmla="*/ 131 h 142"/>
                <a:gd name="T8" fmla="*/ 51 w 57"/>
                <a:gd name="T9" fmla="*/ 134 h 142"/>
                <a:gd name="T10" fmla="*/ 51 w 57"/>
                <a:gd name="T11" fmla="*/ 103 h 142"/>
                <a:gd name="T12" fmla="*/ 57 w 57"/>
                <a:gd name="T13" fmla="*/ 39 h 142"/>
                <a:gd name="T14" fmla="*/ 35 w 57"/>
                <a:gd name="T15" fmla="*/ 1 h 142"/>
                <a:gd name="T16" fmla="*/ 20 w 57"/>
                <a:gd name="T17" fmla="*/ 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142">
                  <a:moveTo>
                    <a:pt x="20" y="2"/>
                  </a:moveTo>
                  <a:cubicBezTo>
                    <a:pt x="20" y="2"/>
                    <a:pt x="12" y="2"/>
                    <a:pt x="7" y="4"/>
                  </a:cubicBezTo>
                  <a:cubicBezTo>
                    <a:pt x="3" y="6"/>
                    <a:pt x="0" y="19"/>
                    <a:pt x="0" y="28"/>
                  </a:cubicBezTo>
                  <a:cubicBezTo>
                    <a:pt x="0" y="37"/>
                    <a:pt x="13" y="108"/>
                    <a:pt x="23" y="131"/>
                  </a:cubicBezTo>
                  <a:cubicBezTo>
                    <a:pt x="23" y="131"/>
                    <a:pt x="37" y="142"/>
                    <a:pt x="51" y="134"/>
                  </a:cubicBezTo>
                  <a:cubicBezTo>
                    <a:pt x="51" y="134"/>
                    <a:pt x="50" y="112"/>
                    <a:pt x="51" y="103"/>
                  </a:cubicBezTo>
                  <a:cubicBezTo>
                    <a:pt x="53" y="93"/>
                    <a:pt x="57" y="50"/>
                    <a:pt x="57" y="39"/>
                  </a:cubicBezTo>
                  <a:cubicBezTo>
                    <a:pt x="57" y="28"/>
                    <a:pt x="45" y="2"/>
                    <a:pt x="35" y="1"/>
                  </a:cubicBezTo>
                  <a:cubicBezTo>
                    <a:pt x="26" y="0"/>
                    <a:pt x="23" y="1"/>
                    <a:pt x="20" y="2"/>
                  </a:cubicBezTo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ṡḻîḍé">
              <a:extLst>
                <a:ext uri="{FF2B5EF4-FFF2-40B4-BE49-F238E27FC236}">
                  <a16:creationId xmlns:a16="http://schemas.microsoft.com/office/drawing/2014/main" id="{D329EFE6-4594-4E88-8F71-1DF1E489CDD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10300" y="4314826"/>
              <a:ext cx="454025" cy="638175"/>
            </a:xfrm>
            <a:custGeom>
              <a:avLst/>
              <a:gdLst>
                <a:gd name="T0" fmla="*/ 0 w 83"/>
                <a:gd name="T1" fmla="*/ 0 h 117"/>
                <a:gd name="T2" fmla="*/ 8 w 83"/>
                <a:gd name="T3" fmla="*/ 7 h 117"/>
                <a:gd name="T4" fmla="*/ 21 w 83"/>
                <a:gd name="T5" fmla="*/ 5 h 117"/>
                <a:gd name="T6" fmla="*/ 34 w 83"/>
                <a:gd name="T7" fmla="*/ 26 h 117"/>
                <a:gd name="T8" fmla="*/ 38 w 83"/>
                <a:gd name="T9" fmla="*/ 42 h 117"/>
                <a:gd name="T10" fmla="*/ 71 w 83"/>
                <a:gd name="T11" fmla="*/ 74 h 117"/>
                <a:gd name="T12" fmla="*/ 76 w 83"/>
                <a:gd name="T13" fmla="*/ 104 h 117"/>
                <a:gd name="T14" fmla="*/ 55 w 83"/>
                <a:gd name="T15" fmla="*/ 114 h 117"/>
                <a:gd name="T16" fmla="*/ 39 w 83"/>
                <a:gd name="T17" fmla="*/ 88 h 117"/>
                <a:gd name="T18" fmla="*/ 22 w 83"/>
                <a:gd name="T19" fmla="*/ 41 h 117"/>
                <a:gd name="T20" fmla="*/ 11 w 83"/>
                <a:gd name="T21" fmla="*/ 28 h 117"/>
                <a:gd name="T22" fmla="*/ 4 w 83"/>
                <a:gd name="T23" fmla="*/ 31 h 117"/>
                <a:gd name="T24" fmla="*/ 0 w 83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117">
                  <a:moveTo>
                    <a:pt x="0" y="0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16" y="3"/>
                    <a:pt x="21" y="5"/>
                  </a:cubicBezTo>
                  <a:cubicBezTo>
                    <a:pt x="26" y="7"/>
                    <a:pt x="33" y="21"/>
                    <a:pt x="34" y="26"/>
                  </a:cubicBezTo>
                  <a:cubicBezTo>
                    <a:pt x="36" y="30"/>
                    <a:pt x="36" y="38"/>
                    <a:pt x="38" y="42"/>
                  </a:cubicBezTo>
                  <a:cubicBezTo>
                    <a:pt x="40" y="45"/>
                    <a:pt x="69" y="70"/>
                    <a:pt x="71" y="74"/>
                  </a:cubicBezTo>
                  <a:cubicBezTo>
                    <a:pt x="74" y="79"/>
                    <a:pt x="83" y="96"/>
                    <a:pt x="76" y="104"/>
                  </a:cubicBezTo>
                  <a:cubicBezTo>
                    <a:pt x="70" y="112"/>
                    <a:pt x="61" y="117"/>
                    <a:pt x="55" y="114"/>
                  </a:cubicBezTo>
                  <a:cubicBezTo>
                    <a:pt x="49" y="111"/>
                    <a:pt x="42" y="102"/>
                    <a:pt x="39" y="88"/>
                  </a:cubicBezTo>
                  <a:cubicBezTo>
                    <a:pt x="36" y="75"/>
                    <a:pt x="25" y="45"/>
                    <a:pt x="22" y="41"/>
                  </a:cubicBezTo>
                  <a:cubicBezTo>
                    <a:pt x="18" y="36"/>
                    <a:pt x="11" y="28"/>
                    <a:pt x="11" y="28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ṣ1ïḑé">
              <a:extLst>
                <a:ext uri="{FF2B5EF4-FFF2-40B4-BE49-F238E27FC236}">
                  <a16:creationId xmlns:a16="http://schemas.microsoft.com/office/drawing/2014/main" id="{4C04BC88-5B92-4EF5-8466-87848EC7D00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23025" y="4795838"/>
              <a:ext cx="203200" cy="146050"/>
            </a:xfrm>
            <a:custGeom>
              <a:avLst/>
              <a:gdLst>
                <a:gd name="T0" fmla="*/ 0 w 37"/>
                <a:gd name="T1" fmla="*/ 0 h 27"/>
                <a:gd name="T2" fmla="*/ 16 w 37"/>
                <a:gd name="T3" fmla="*/ 26 h 27"/>
                <a:gd name="T4" fmla="*/ 20 w 37"/>
                <a:gd name="T5" fmla="*/ 27 h 27"/>
                <a:gd name="T6" fmla="*/ 37 w 37"/>
                <a:gd name="T7" fmla="*/ 16 h 27"/>
                <a:gd name="T8" fmla="*/ 23 w 37"/>
                <a:gd name="T9" fmla="*/ 20 h 27"/>
                <a:gd name="T10" fmla="*/ 21 w 37"/>
                <a:gd name="T11" fmla="*/ 20 h 27"/>
                <a:gd name="T12" fmla="*/ 0 w 37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7">
                  <a:moveTo>
                    <a:pt x="0" y="0"/>
                  </a:moveTo>
                  <a:cubicBezTo>
                    <a:pt x="3" y="14"/>
                    <a:pt x="10" y="23"/>
                    <a:pt x="16" y="26"/>
                  </a:cubicBezTo>
                  <a:cubicBezTo>
                    <a:pt x="17" y="27"/>
                    <a:pt x="18" y="27"/>
                    <a:pt x="20" y="27"/>
                  </a:cubicBezTo>
                  <a:cubicBezTo>
                    <a:pt x="25" y="27"/>
                    <a:pt x="32" y="22"/>
                    <a:pt x="37" y="16"/>
                  </a:cubicBezTo>
                  <a:cubicBezTo>
                    <a:pt x="37" y="16"/>
                    <a:pt x="35" y="18"/>
                    <a:pt x="23" y="20"/>
                  </a:cubicBezTo>
                  <a:cubicBezTo>
                    <a:pt x="22" y="20"/>
                    <a:pt x="22" y="20"/>
                    <a:pt x="21" y="20"/>
                  </a:cubicBezTo>
                  <a:cubicBezTo>
                    <a:pt x="10" y="20"/>
                    <a:pt x="0" y="0"/>
                    <a:pt x="0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sḻíḓe">
              <a:extLst>
                <a:ext uri="{FF2B5EF4-FFF2-40B4-BE49-F238E27FC236}">
                  <a16:creationId xmlns:a16="http://schemas.microsoft.com/office/drawing/2014/main" id="{73E61D46-2FC8-4126-A3E3-6022EE4153D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70625" y="4391026"/>
              <a:ext cx="103188" cy="109538"/>
            </a:xfrm>
            <a:custGeom>
              <a:avLst/>
              <a:gdLst>
                <a:gd name="T0" fmla="*/ 10 w 19"/>
                <a:gd name="T1" fmla="*/ 0 h 20"/>
                <a:gd name="T2" fmla="*/ 10 w 19"/>
                <a:gd name="T3" fmla="*/ 9 h 20"/>
                <a:gd name="T4" fmla="*/ 0 w 19"/>
                <a:gd name="T5" fmla="*/ 14 h 20"/>
                <a:gd name="T6" fmla="*/ 6 w 19"/>
                <a:gd name="T7" fmla="*/ 20 h 20"/>
                <a:gd name="T8" fmla="*/ 15 w 19"/>
                <a:gd name="T9" fmla="*/ 16 h 20"/>
                <a:gd name="T10" fmla="*/ 10 w 19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0">
                  <a:moveTo>
                    <a:pt x="10" y="0"/>
                  </a:moveTo>
                  <a:cubicBezTo>
                    <a:pt x="10" y="0"/>
                    <a:pt x="10" y="6"/>
                    <a:pt x="10" y="9"/>
                  </a:cubicBezTo>
                  <a:cubicBezTo>
                    <a:pt x="9" y="12"/>
                    <a:pt x="0" y="14"/>
                    <a:pt x="0" y="14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12" y="18"/>
                    <a:pt x="15" y="16"/>
                  </a:cubicBezTo>
                  <a:cubicBezTo>
                    <a:pt x="19" y="14"/>
                    <a:pt x="10" y="0"/>
                    <a:pt x="10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îṡľîďè">
              <a:extLst>
                <a:ext uri="{FF2B5EF4-FFF2-40B4-BE49-F238E27FC236}">
                  <a16:creationId xmlns:a16="http://schemas.microsoft.com/office/drawing/2014/main" id="{2387C600-9250-469B-B12F-96EFE21C752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9613" y="4348163"/>
              <a:ext cx="33338" cy="53975"/>
            </a:xfrm>
            <a:custGeom>
              <a:avLst/>
              <a:gdLst>
                <a:gd name="T0" fmla="*/ 21 w 21"/>
                <a:gd name="T1" fmla="*/ 0 h 34"/>
                <a:gd name="T2" fmla="*/ 0 w 21"/>
                <a:gd name="T3" fmla="*/ 34 h 34"/>
                <a:gd name="T4" fmla="*/ 21 w 21"/>
                <a:gd name="T5" fmla="*/ 17 h 34"/>
                <a:gd name="T6" fmla="*/ 21 w 21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4">
                  <a:moveTo>
                    <a:pt x="21" y="0"/>
                  </a:moveTo>
                  <a:lnTo>
                    <a:pt x="0" y="34"/>
                  </a:lnTo>
                  <a:lnTo>
                    <a:pt x="21" y="17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ṩlîďè">
              <a:extLst>
                <a:ext uri="{FF2B5EF4-FFF2-40B4-BE49-F238E27FC236}">
                  <a16:creationId xmlns:a16="http://schemas.microsoft.com/office/drawing/2014/main" id="{D6746DD7-6FFE-4864-AA3F-532565E56B4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9613" y="4348163"/>
              <a:ext cx="33338" cy="53975"/>
            </a:xfrm>
            <a:custGeom>
              <a:avLst/>
              <a:gdLst>
                <a:gd name="T0" fmla="*/ 21 w 21"/>
                <a:gd name="T1" fmla="*/ 0 h 34"/>
                <a:gd name="T2" fmla="*/ 0 w 21"/>
                <a:gd name="T3" fmla="*/ 34 h 34"/>
                <a:gd name="T4" fmla="*/ 21 w 21"/>
                <a:gd name="T5" fmla="*/ 17 h 34"/>
                <a:gd name="T6" fmla="*/ 21 w 21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4">
                  <a:moveTo>
                    <a:pt x="21" y="0"/>
                  </a:moveTo>
                  <a:lnTo>
                    <a:pt x="0" y="34"/>
                  </a:lnTo>
                  <a:lnTo>
                    <a:pt x="21" y="17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013370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" dur="2000" fill="hold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2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25" grpId="0" build="p"/>
      <p:bldP spid="126" grpId="0"/>
      <p:bldP spid="12" grpId="0"/>
    </p:bldLst>
  </p:timing>
</p:sld>
</file>

<file path=ppt/slides/slide4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1"/>
          </p:nvPr>
        </p:nvSpPr>
        <p:spPr/>
        <p:txBody>
          <a:bodyPr/>
          <a:lstStyle/>
          <a:p>
            <a:r>
              <a:rPr kumimoji="1" lang="en-US" altLang="zh-CN"/>
              <a:t>if-else</a:t>
            </a:r>
            <a:r>
              <a:rPr kumimoji="1" lang="zh-CN" altLang="en-US"/>
              <a:t>语句</a:t>
            </a:r>
          </a:p>
        </p:txBody>
      </p:sp>
      <p:sp>
        <p:nvSpPr>
          <p:cNvPr id="3" name="内容占位符 2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0"/>
          </p:nvPr>
        </p:nvSpPr>
        <p:spPr>
          <a:xfrm>
            <a:off x="766760" y="1197000"/>
            <a:ext cx="3689491" cy="43541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if</a:t>
            </a: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判断条件</a:t>
            </a:r>
            <a:r>
              <a:rPr kumimoji="1" lang="zh-CN" altLang="en-US" b="0" dirty="0" smtClean="0">
                <a:solidFill>
                  <a:schemeClr val="accent5"/>
                </a:solidFill>
                <a:latin typeface="+mn-ea"/>
                <a:ea typeface="+mn-ea"/>
              </a:rPr>
              <a:t>为</a:t>
            </a: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假</a:t>
            </a:r>
            <a:r>
              <a:rPr kumimoji="1" lang="en-US" altLang="zh-CN" b="0" dirty="0" smtClean="0">
                <a:solidFill>
                  <a:schemeClr val="accent5"/>
                </a:solidFill>
                <a:latin typeface="+mn-ea"/>
                <a:ea typeface="+mn-ea"/>
              </a:rPr>
              <a:t>: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124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1671851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   语句块</a:t>
            </a: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1</a:t>
            </a:r>
          </a:p>
        </p:txBody>
      </p:sp>
      <p:sp>
        <p:nvSpPr>
          <p:cNvPr id="125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2146702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elif</a:t>
            </a: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判断条件为假</a:t>
            </a:r>
            <a:r>
              <a:rPr kumimoji="1" lang="en-US" altLang="zh-CN" b="0" dirty="0" smtClean="0">
                <a:solidFill>
                  <a:schemeClr val="accent5"/>
                </a:solidFill>
                <a:latin typeface="+mn-ea"/>
                <a:ea typeface="+mn-ea"/>
              </a:rPr>
              <a:t>: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126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2621553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    语句块</a:t>
            </a: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2</a:t>
            </a:r>
          </a:p>
        </p:txBody>
      </p:sp>
      <p:sp>
        <p:nvSpPr>
          <p:cNvPr id="127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3096404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elif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 判断条件为假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:</a:t>
            </a:r>
          </a:p>
        </p:txBody>
      </p:sp>
      <p:sp>
        <p:nvSpPr>
          <p:cNvPr id="128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3571255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</a:rPr>
              <a:t>    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语句块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3</a:t>
            </a:r>
          </a:p>
        </p:txBody>
      </p:sp>
      <p:sp>
        <p:nvSpPr>
          <p:cNvPr id="13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4046106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...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 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...</a:t>
            </a:r>
          </a:p>
        </p:txBody>
      </p:sp>
      <p:sp>
        <p:nvSpPr>
          <p:cNvPr id="15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4520957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b="0" dirty="0">
                <a:solidFill>
                  <a:schemeClr val="accent5"/>
                </a:solidFill>
                <a:latin typeface="+mn-ea"/>
                <a:ea typeface="+mn-ea"/>
              </a:rPr>
              <a:t>else:</a:t>
            </a:r>
          </a:p>
        </p:txBody>
      </p:sp>
      <p:sp>
        <p:nvSpPr>
          <p:cNvPr id="16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0" y="4995808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</a:rPr>
              <a:t>    </a:t>
            </a:r>
            <a:r>
              <a:rPr kumimoji="1" lang="zh-CN" altLang="en-US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语句块</a:t>
            </a:r>
            <a:r>
              <a:rPr kumimoji="1" lang="en-US" altLang="zh-CN" b="0" dirty="0">
                <a:solidFill>
                  <a:schemeClr val="accent5"/>
                </a:solidFill>
                <a:latin typeface="Microsoft YaHei" charset="-122"/>
                <a:ea typeface="Microsoft YaHei" charset="-122"/>
                <a:cs typeface="Microsoft YaHei" charset="-122"/>
              </a:rPr>
              <a:t>n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12" name="内容占位符 2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59" y="5515164"/>
            <a:ext cx="3689491" cy="435413"/>
          </a:xfrm>
          <a:prstGeom prst="rect">
            <a:avLst/>
          </a:prstGeom>
        </p:spPr>
        <p:txBody>
          <a:bodyPr vert="horz" lIns="90000" tIns="45720" rIns="91440" bIns="45720" rtlCol="0">
            <a:no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zh-CN" altLang="en-US" b="0" dirty="0">
                <a:solidFill>
                  <a:schemeClr val="accent5"/>
                </a:solidFill>
                <a:latin typeface="+mn-ea"/>
                <a:ea typeface="+mn-ea"/>
              </a:rPr>
              <a:t>其他语句</a:t>
            </a:r>
            <a:endParaRPr kumimoji="1" lang="en-US" altLang="zh-CN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grpSp>
        <p:nvGrpSpPr>
          <p:cNvPr id="14" name="组合 1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Grp="1" noUngrp="1" noSelect="1" noRot="1" noChangeAspect="1" noMove="1" noResize="1"/>
          </p:cNvGrpSpPr>
          <p:nvPr/>
        </p:nvGrpSpPr>
        <p:grpSpPr>
          <a:xfrm>
            <a:off x="4456250" y="513000"/>
            <a:ext cx="6782292" cy="5978510"/>
            <a:chOff x="3436938" y="1101726"/>
            <a:chExt cx="5291138" cy="4664075"/>
          </a:xfrm>
        </p:grpSpPr>
        <p:sp>
          <p:nvSpPr>
            <p:cNvPr id="17" name="iṥļïďê">
              <a:extLst>
                <a:ext uri="{FF2B5EF4-FFF2-40B4-BE49-F238E27FC236}">
                  <a16:creationId xmlns:a16="http://schemas.microsoft.com/office/drawing/2014/main" id="{31B18AB6-AE12-4DA6-B127-54A550FED46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80163" y="1428751"/>
              <a:ext cx="1222375" cy="966788"/>
            </a:xfrm>
            <a:prstGeom prst="ellipse">
              <a:avLst/>
            </a:pr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ṧḻíḓé">
              <a:extLst>
                <a:ext uri="{FF2B5EF4-FFF2-40B4-BE49-F238E27FC236}">
                  <a16:creationId xmlns:a16="http://schemas.microsoft.com/office/drawing/2014/main" id="{6A81FD2B-147F-4E11-9937-19B2C8027AE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41775" y="5100638"/>
              <a:ext cx="4227513" cy="665163"/>
            </a:xfrm>
            <a:custGeom>
              <a:avLst/>
              <a:gdLst>
                <a:gd name="T0" fmla="*/ 332 w 774"/>
                <a:gd name="T1" fmla="*/ 0 h 122"/>
                <a:gd name="T2" fmla="*/ 301 w 774"/>
                <a:gd name="T3" fmla="*/ 1 h 122"/>
                <a:gd name="T4" fmla="*/ 302 w 774"/>
                <a:gd name="T5" fmla="*/ 47 h 122"/>
                <a:gd name="T6" fmla="*/ 302 w 774"/>
                <a:gd name="T7" fmla="*/ 47 h 122"/>
                <a:gd name="T8" fmla="*/ 302 w 774"/>
                <a:gd name="T9" fmla="*/ 47 h 122"/>
                <a:gd name="T10" fmla="*/ 310 w 774"/>
                <a:gd name="T11" fmla="*/ 57 h 122"/>
                <a:gd name="T12" fmla="*/ 314 w 774"/>
                <a:gd name="T13" fmla="*/ 73 h 122"/>
                <a:gd name="T14" fmla="*/ 305 w 774"/>
                <a:gd name="T15" fmla="*/ 78 h 122"/>
                <a:gd name="T16" fmla="*/ 292 w 774"/>
                <a:gd name="T17" fmla="*/ 88 h 122"/>
                <a:gd name="T18" fmla="*/ 271 w 774"/>
                <a:gd name="T19" fmla="*/ 108 h 122"/>
                <a:gd name="T20" fmla="*/ 266 w 774"/>
                <a:gd name="T21" fmla="*/ 109 h 122"/>
                <a:gd name="T22" fmla="*/ 258 w 774"/>
                <a:gd name="T23" fmla="*/ 106 h 122"/>
                <a:gd name="T24" fmla="*/ 257 w 774"/>
                <a:gd name="T25" fmla="*/ 97 h 122"/>
                <a:gd name="T26" fmla="*/ 269 w 774"/>
                <a:gd name="T27" fmla="*/ 72 h 122"/>
                <a:gd name="T28" fmla="*/ 269 w 774"/>
                <a:gd name="T29" fmla="*/ 72 h 122"/>
                <a:gd name="T30" fmla="*/ 269 w 774"/>
                <a:gd name="T31" fmla="*/ 72 h 122"/>
                <a:gd name="T32" fmla="*/ 278 w 774"/>
                <a:gd name="T33" fmla="*/ 50 h 122"/>
                <a:gd name="T34" fmla="*/ 266 w 774"/>
                <a:gd name="T35" fmla="*/ 2 h 122"/>
                <a:gd name="T36" fmla="*/ 0 w 774"/>
                <a:gd name="T37" fmla="*/ 61 h 122"/>
                <a:gd name="T38" fmla="*/ 387 w 774"/>
                <a:gd name="T39" fmla="*/ 122 h 122"/>
                <a:gd name="T40" fmla="*/ 774 w 774"/>
                <a:gd name="T41" fmla="*/ 61 h 122"/>
                <a:gd name="T42" fmla="*/ 710 w 774"/>
                <a:gd name="T43" fmla="*/ 27 h 122"/>
                <a:gd name="T44" fmla="*/ 654 w 774"/>
                <a:gd name="T45" fmla="*/ 41 h 122"/>
                <a:gd name="T46" fmla="*/ 550 w 774"/>
                <a:gd name="T47" fmla="*/ 5 h 122"/>
                <a:gd name="T48" fmla="*/ 447 w 774"/>
                <a:gd name="T49" fmla="*/ 0 h 122"/>
                <a:gd name="T50" fmla="*/ 444 w 774"/>
                <a:gd name="T51" fmla="*/ 20 h 122"/>
                <a:gd name="T52" fmla="*/ 444 w 774"/>
                <a:gd name="T53" fmla="*/ 51 h 122"/>
                <a:gd name="T54" fmla="*/ 444 w 774"/>
                <a:gd name="T55" fmla="*/ 51 h 122"/>
                <a:gd name="T56" fmla="*/ 454 w 774"/>
                <a:gd name="T57" fmla="*/ 59 h 122"/>
                <a:gd name="T58" fmla="*/ 454 w 774"/>
                <a:gd name="T59" fmla="*/ 59 h 122"/>
                <a:gd name="T60" fmla="*/ 454 w 774"/>
                <a:gd name="T61" fmla="*/ 59 h 122"/>
                <a:gd name="T62" fmla="*/ 466 w 774"/>
                <a:gd name="T63" fmla="*/ 71 h 122"/>
                <a:gd name="T64" fmla="*/ 486 w 774"/>
                <a:gd name="T65" fmla="*/ 91 h 122"/>
                <a:gd name="T66" fmla="*/ 480 w 774"/>
                <a:gd name="T67" fmla="*/ 98 h 122"/>
                <a:gd name="T68" fmla="*/ 477 w 774"/>
                <a:gd name="T69" fmla="*/ 98 h 122"/>
                <a:gd name="T70" fmla="*/ 450 w 774"/>
                <a:gd name="T71" fmla="*/ 91 h 122"/>
                <a:gd name="T72" fmla="*/ 436 w 774"/>
                <a:gd name="T73" fmla="*/ 78 h 122"/>
                <a:gd name="T74" fmla="*/ 434 w 774"/>
                <a:gd name="T75" fmla="*/ 78 h 122"/>
                <a:gd name="T76" fmla="*/ 433 w 774"/>
                <a:gd name="T77" fmla="*/ 79 h 122"/>
                <a:gd name="T78" fmla="*/ 431 w 774"/>
                <a:gd name="T79" fmla="*/ 79 h 122"/>
                <a:gd name="T80" fmla="*/ 417 w 774"/>
                <a:gd name="T81" fmla="*/ 77 h 122"/>
                <a:gd name="T82" fmla="*/ 415 w 774"/>
                <a:gd name="T83" fmla="*/ 64 h 122"/>
                <a:gd name="T84" fmla="*/ 415 w 774"/>
                <a:gd name="T85" fmla="*/ 54 h 122"/>
                <a:gd name="T86" fmla="*/ 415 w 774"/>
                <a:gd name="T87" fmla="*/ 54 h 122"/>
                <a:gd name="T88" fmla="*/ 415 w 774"/>
                <a:gd name="T89" fmla="*/ 54 h 122"/>
                <a:gd name="T90" fmla="*/ 416 w 774"/>
                <a:gd name="T91" fmla="*/ 48 h 122"/>
                <a:gd name="T92" fmla="*/ 416 w 774"/>
                <a:gd name="T93" fmla="*/ 48 h 122"/>
                <a:gd name="T94" fmla="*/ 416 w 774"/>
                <a:gd name="T95" fmla="*/ 48 h 122"/>
                <a:gd name="T96" fmla="*/ 407 w 774"/>
                <a:gd name="T97" fmla="*/ 18 h 122"/>
                <a:gd name="T98" fmla="*/ 407 w 774"/>
                <a:gd name="T99" fmla="*/ 18 h 122"/>
                <a:gd name="T100" fmla="*/ 396 w 774"/>
                <a:gd name="T101" fmla="*/ 17 h 122"/>
                <a:gd name="T102" fmla="*/ 384 w 774"/>
                <a:gd name="T103" fmla="*/ 16 h 122"/>
                <a:gd name="T104" fmla="*/ 382 w 774"/>
                <a:gd name="T105" fmla="*/ 16 h 122"/>
                <a:gd name="T106" fmla="*/ 369 w 774"/>
                <a:gd name="T107" fmla="*/ 17 h 122"/>
                <a:gd name="T108" fmla="*/ 335 w 774"/>
                <a:gd name="T109" fmla="*/ 3 h 122"/>
                <a:gd name="T110" fmla="*/ 332 w 774"/>
                <a:gd name="T11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74" h="122">
                  <a:moveTo>
                    <a:pt x="332" y="0"/>
                  </a:moveTo>
                  <a:cubicBezTo>
                    <a:pt x="322" y="0"/>
                    <a:pt x="311" y="0"/>
                    <a:pt x="301" y="1"/>
                  </a:cubicBezTo>
                  <a:cubicBezTo>
                    <a:pt x="302" y="25"/>
                    <a:pt x="302" y="47"/>
                    <a:pt x="302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7"/>
                    <a:pt x="310" y="54"/>
                    <a:pt x="310" y="57"/>
                  </a:cubicBezTo>
                  <a:cubicBezTo>
                    <a:pt x="311" y="60"/>
                    <a:pt x="314" y="70"/>
                    <a:pt x="314" y="73"/>
                  </a:cubicBezTo>
                  <a:cubicBezTo>
                    <a:pt x="313" y="77"/>
                    <a:pt x="305" y="78"/>
                    <a:pt x="305" y="78"/>
                  </a:cubicBezTo>
                  <a:cubicBezTo>
                    <a:pt x="305" y="78"/>
                    <a:pt x="299" y="84"/>
                    <a:pt x="292" y="88"/>
                  </a:cubicBezTo>
                  <a:cubicBezTo>
                    <a:pt x="286" y="93"/>
                    <a:pt x="274" y="107"/>
                    <a:pt x="271" y="108"/>
                  </a:cubicBezTo>
                  <a:cubicBezTo>
                    <a:pt x="270" y="108"/>
                    <a:pt x="268" y="109"/>
                    <a:pt x="266" y="109"/>
                  </a:cubicBezTo>
                  <a:cubicBezTo>
                    <a:pt x="264" y="109"/>
                    <a:pt x="261" y="108"/>
                    <a:pt x="258" y="106"/>
                  </a:cubicBezTo>
                  <a:cubicBezTo>
                    <a:pt x="253" y="102"/>
                    <a:pt x="255" y="100"/>
                    <a:pt x="257" y="97"/>
                  </a:cubicBezTo>
                  <a:cubicBezTo>
                    <a:pt x="260" y="94"/>
                    <a:pt x="265" y="79"/>
                    <a:pt x="269" y="72"/>
                  </a:cubicBezTo>
                  <a:cubicBezTo>
                    <a:pt x="269" y="72"/>
                    <a:pt x="269" y="72"/>
                    <a:pt x="269" y="72"/>
                  </a:cubicBezTo>
                  <a:cubicBezTo>
                    <a:pt x="269" y="72"/>
                    <a:pt x="269" y="72"/>
                    <a:pt x="269" y="72"/>
                  </a:cubicBezTo>
                  <a:cubicBezTo>
                    <a:pt x="272" y="65"/>
                    <a:pt x="278" y="50"/>
                    <a:pt x="278" y="50"/>
                  </a:cubicBezTo>
                  <a:cubicBezTo>
                    <a:pt x="277" y="48"/>
                    <a:pt x="272" y="26"/>
                    <a:pt x="266" y="2"/>
                  </a:cubicBezTo>
                  <a:cubicBezTo>
                    <a:pt x="111" y="10"/>
                    <a:pt x="0" y="33"/>
                    <a:pt x="0" y="61"/>
                  </a:cubicBezTo>
                  <a:cubicBezTo>
                    <a:pt x="0" y="95"/>
                    <a:pt x="173" y="122"/>
                    <a:pt x="387" y="122"/>
                  </a:cubicBezTo>
                  <a:cubicBezTo>
                    <a:pt x="600" y="122"/>
                    <a:pt x="774" y="95"/>
                    <a:pt x="774" y="61"/>
                  </a:cubicBezTo>
                  <a:cubicBezTo>
                    <a:pt x="774" y="48"/>
                    <a:pt x="750" y="37"/>
                    <a:pt x="710" y="27"/>
                  </a:cubicBezTo>
                  <a:cubicBezTo>
                    <a:pt x="695" y="37"/>
                    <a:pt x="675" y="41"/>
                    <a:pt x="654" y="41"/>
                  </a:cubicBezTo>
                  <a:cubicBezTo>
                    <a:pt x="621" y="41"/>
                    <a:pt x="583" y="29"/>
                    <a:pt x="550" y="5"/>
                  </a:cubicBezTo>
                  <a:cubicBezTo>
                    <a:pt x="518" y="3"/>
                    <a:pt x="483" y="1"/>
                    <a:pt x="447" y="0"/>
                  </a:cubicBezTo>
                  <a:cubicBezTo>
                    <a:pt x="446" y="9"/>
                    <a:pt x="445" y="16"/>
                    <a:pt x="444" y="20"/>
                  </a:cubicBezTo>
                  <a:cubicBezTo>
                    <a:pt x="443" y="29"/>
                    <a:pt x="444" y="51"/>
                    <a:pt x="444" y="51"/>
                  </a:cubicBezTo>
                  <a:cubicBezTo>
                    <a:pt x="444" y="51"/>
                    <a:pt x="444" y="51"/>
                    <a:pt x="444" y="51"/>
                  </a:cubicBezTo>
                  <a:cubicBezTo>
                    <a:pt x="446" y="53"/>
                    <a:pt x="450" y="55"/>
                    <a:pt x="454" y="59"/>
                  </a:cubicBezTo>
                  <a:cubicBezTo>
                    <a:pt x="454" y="59"/>
                    <a:pt x="454" y="59"/>
                    <a:pt x="454" y="59"/>
                  </a:cubicBezTo>
                  <a:cubicBezTo>
                    <a:pt x="454" y="59"/>
                    <a:pt x="454" y="59"/>
                    <a:pt x="454" y="59"/>
                  </a:cubicBezTo>
                  <a:cubicBezTo>
                    <a:pt x="458" y="63"/>
                    <a:pt x="462" y="67"/>
                    <a:pt x="466" y="71"/>
                  </a:cubicBezTo>
                  <a:cubicBezTo>
                    <a:pt x="475" y="83"/>
                    <a:pt x="486" y="89"/>
                    <a:pt x="486" y="91"/>
                  </a:cubicBezTo>
                  <a:cubicBezTo>
                    <a:pt x="486" y="93"/>
                    <a:pt x="483" y="96"/>
                    <a:pt x="480" y="98"/>
                  </a:cubicBezTo>
                  <a:cubicBezTo>
                    <a:pt x="479" y="98"/>
                    <a:pt x="478" y="98"/>
                    <a:pt x="477" y="98"/>
                  </a:cubicBezTo>
                  <a:cubicBezTo>
                    <a:pt x="470" y="98"/>
                    <a:pt x="453" y="95"/>
                    <a:pt x="450" y="91"/>
                  </a:cubicBezTo>
                  <a:cubicBezTo>
                    <a:pt x="446" y="87"/>
                    <a:pt x="439" y="79"/>
                    <a:pt x="436" y="78"/>
                  </a:cubicBezTo>
                  <a:cubicBezTo>
                    <a:pt x="435" y="78"/>
                    <a:pt x="434" y="78"/>
                    <a:pt x="434" y="78"/>
                  </a:cubicBezTo>
                  <a:cubicBezTo>
                    <a:pt x="433" y="78"/>
                    <a:pt x="435" y="79"/>
                    <a:pt x="433" y="79"/>
                  </a:cubicBezTo>
                  <a:cubicBezTo>
                    <a:pt x="432" y="79"/>
                    <a:pt x="432" y="79"/>
                    <a:pt x="431" y="79"/>
                  </a:cubicBezTo>
                  <a:cubicBezTo>
                    <a:pt x="427" y="79"/>
                    <a:pt x="419" y="77"/>
                    <a:pt x="417" y="77"/>
                  </a:cubicBezTo>
                  <a:cubicBezTo>
                    <a:pt x="415" y="77"/>
                    <a:pt x="415" y="69"/>
                    <a:pt x="415" y="64"/>
                  </a:cubicBezTo>
                  <a:cubicBezTo>
                    <a:pt x="415" y="61"/>
                    <a:pt x="415" y="57"/>
                    <a:pt x="415" y="54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6" y="51"/>
                    <a:pt x="416" y="48"/>
                    <a:pt x="416" y="48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6" y="48"/>
                    <a:pt x="416" y="48"/>
                    <a:pt x="416" y="48"/>
                  </a:cubicBezTo>
                  <a:cubicBezTo>
                    <a:pt x="413" y="41"/>
                    <a:pt x="410" y="30"/>
                    <a:pt x="407" y="18"/>
                  </a:cubicBezTo>
                  <a:cubicBezTo>
                    <a:pt x="407" y="18"/>
                    <a:pt x="407" y="18"/>
                    <a:pt x="407" y="18"/>
                  </a:cubicBezTo>
                  <a:cubicBezTo>
                    <a:pt x="405" y="18"/>
                    <a:pt x="401" y="17"/>
                    <a:pt x="396" y="17"/>
                  </a:cubicBezTo>
                  <a:cubicBezTo>
                    <a:pt x="392" y="16"/>
                    <a:pt x="388" y="16"/>
                    <a:pt x="384" y="16"/>
                  </a:cubicBezTo>
                  <a:cubicBezTo>
                    <a:pt x="384" y="16"/>
                    <a:pt x="383" y="16"/>
                    <a:pt x="382" y="16"/>
                  </a:cubicBezTo>
                  <a:cubicBezTo>
                    <a:pt x="379" y="16"/>
                    <a:pt x="375" y="17"/>
                    <a:pt x="369" y="17"/>
                  </a:cubicBezTo>
                  <a:cubicBezTo>
                    <a:pt x="359" y="17"/>
                    <a:pt x="347" y="15"/>
                    <a:pt x="335" y="3"/>
                  </a:cubicBezTo>
                  <a:cubicBezTo>
                    <a:pt x="334" y="2"/>
                    <a:pt x="333" y="1"/>
                    <a:pt x="332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$ľïḋê">
              <a:extLst>
                <a:ext uri="{FF2B5EF4-FFF2-40B4-BE49-F238E27FC236}">
                  <a16:creationId xmlns:a16="http://schemas.microsoft.com/office/drawing/2014/main" id="{E1DD42AF-A213-4CD8-BAA9-74E522A4AEF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436938" y="1495426"/>
              <a:ext cx="5291138" cy="3949700"/>
            </a:xfrm>
            <a:custGeom>
              <a:avLst/>
              <a:gdLst>
                <a:gd name="T0" fmla="*/ 154 w 969"/>
                <a:gd name="T1" fmla="*/ 296 h 724"/>
                <a:gd name="T2" fmla="*/ 33 w 969"/>
                <a:gd name="T3" fmla="*/ 478 h 724"/>
                <a:gd name="T4" fmla="*/ 217 w 969"/>
                <a:gd name="T5" fmla="*/ 598 h 724"/>
                <a:gd name="T6" fmla="*/ 385 w 969"/>
                <a:gd name="T7" fmla="*/ 601 h 724"/>
                <a:gd name="T8" fmla="*/ 617 w 969"/>
                <a:gd name="T9" fmla="*/ 621 h 724"/>
                <a:gd name="T10" fmla="*/ 841 w 969"/>
                <a:gd name="T11" fmla="*/ 671 h 724"/>
                <a:gd name="T12" fmla="*/ 773 w 969"/>
                <a:gd name="T13" fmla="*/ 516 h 724"/>
                <a:gd name="T14" fmla="*/ 684 w 969"/>
                <a:gd name="T15" fmla="*/ 358 h 724"/>
                <a:gd name="T16" fmla="*/ 952 w 969"/>
                <a:gd name="T17" fmla="*/ 154 h 724"/>
                <a:gd name="T18" fmla="*/ 865 w 969"/>
                <a:gd name="T19" fmla="*/ 21 h 724"/>
                <a:gd name="T20" fmla="*/ 734 w 969"/>
                <a:gd name="T21" fmla="*/ 174 h 724"/>
                <a:gd name="T22" fmla="*/ 552 w 969"/>
                <a:gd name="T23" fmla="*/ 107 h 724"/>
                <a:gd name="T24" fmla="*/ 352 w 969"/>
                <a:gd name="T25" fmla="*/ 60 h 724"/>
                <a:gd name="T26" fmla="*/ 154 w 969"/>
                <a:gd name="T27" fmla="*/ 296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9" h="724">
                  <a:moveTo>
                    <a:pt x="154" y="296"/>
                  </a:moveTo>
                  <a:cubicBezTo>
                    <a:pt x="154" y="296"/>
                    <a:pt x="0" y="330"/>
                    <a:pt x="33" y="478"/>
                  </a:cubicBezTo>
                  <a:cubicBezTo>
                    <a:pt x="65" y="626"/>
                    <a:pt x="183" y="540"/>
                    <a:pt x="217" y="598"/>
                  </a:cubicBezTo>
                  <a:cubicBezTo>
                    <a:pt x="233" y="624"/>
                    <a:pt x="305" y="613"/>
                    <a:pt x="385" y="601"/>
                  </a:cubicBezTo>
                  <a:cubicBezTo>
                    <a:pt x="478" y="587"/>
                    <a:pt x="582" y="573"/>
                    <a:pt x="617" y="621"/>
                  </a:cubicBezTo>
                  <a:cubicBezTo>
                    <a:pt x="682" y="711"/>
                    <a:pt x="800" y="724"/>
                    <a:pt x="841" y="671"/>
                  </a:cubicBezTo>
                  <a:cubicBezTo>
                    <a:pt x="882" y="617"/>
                    <a:pt x="856" y="512"/>
                    <a:pt x="773" y="516"/>
                  </a:cubicBezTo>
                  <a:cubicBezTo>
                    <a:pt x="691" y="521"/>
                    <a:pt x="641" y="420"/>
                    <a:pt x="684" y="358"/>
                  </a:cubicBezTo>
                  <a:cubicBezTo>
                    <a:pt x="728" y="296"/>
                    <a:pt x="932" y="261"/>
                    <a:pt x="952" y="154"/>
                  </a:cubicBezTo>
                  <a:cubicBezTo>
                    <a:pt x="969" y="56"/>
                    <a:pt x="933" y="0"/>
                    <a:pt x="865" y="21"/>
                  </a:cubicBezTo>
                  <a:cubicBezTo>
                    <a:pt x="798" y="42"/>
                    <a:pt x="852" y="131"/>
                    <a:pt x="734" y="174"/>
                  </a:cubicBezTo>
                  <a:cubicBezTo>
                    <a:pt x="625" y="213"/>
                    <a:pt x="585" y="149"/>
                    <a:pt x="552" y="107"/>
                  </a:cubicBezTo>
                  <a:cubicBezTo>
                    <a:pt x="508" y="51"/>
                    <a:pt x="418" y="8"/>
                    <a:pt x="352" y="60"/>
                  </a:cubicBezTo>
                  <a:cubicBezTo>
                    <a:pt x="273" y="122"/>
                    <a:pt x="287" y="270"/>
                    <a:pt x="154" y="296"/>
                  </a:cubicBezTo>
                </a:path>
              </a:pathLst>
            </a:custGeom>
            <a:solidFill>
              <a:srgbClr val="C5C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sḷidè">
              <a:extLst>
                <a:ext uri="{FF2B5EF4-FFF2-40B4-BE49-F238E27FC236}">
                  <a16:creationId xmlns:a16="http://schemas.microsoft.com/office/drawing/2014/main" id="{E02449CC-618F-4769-94AF-6FEC6059B1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100888" y="1844676"/>
              <a:ext cx="1157288" cy="1227138"/>
            </a:xfrm>
            <a:custGeom>
              <a:avLst/>
              <a:gdLst>
                <a:gd name="T0" fmla="*/ 106 w 212"/>
                <a:gd name="T1" fmla="*/ 225 h 225"/>
                <a:gd name="T2" fmla="*/ 0 w 212"/>
                <a:gd name="T3" fmla="*/ 113 h 225"/>
                <a:gd name="T4" fmla="*/ 106 w 212"/>
                <a:gd name="T5" fmla="*/ 0 h 225"/>
                <a:gd name="T6" fmla="*/ 212 w 212"/>
                <a:gd name="T7" fmla="*/ 113 h 225"/>
                <a:gd name="T8" fmla="*/ 106 w 212"/>
                <a:gd name="T9" fmla="*/ 225 h 225"/>
                <a:gd name="T10" fmla="*/ 106 w 212"/>
                <a:gd name="T11" fmla="*/ 4 h 225"/>
                <a:gd name="T12" fmla="*/ 4 w 212"/>
                <a:gd name="T13" fmla="*/ 113 h 225"/>
                <a:gd name="T14" fmla="*/ 106 w 212"/>
                <a:gd name="T15" fmla="*/ 221 h 225"/>
                <a:gd name="T16" fmla="*/ 208 w 212"/>
                <a:gd name="T17" fmla="*/ 113 h 225"/>
                <a:gd name="T18" fmla="*/ 106 w 212"/>
                <a:gd name="T19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25">
                  <a:moveTo>
                    <a:pt x="106" y="225"/>
                  </a:moveTo>
                  <a:cubicBezTo>
                    <a:pt x="48" y="225"/>
                    <a:pt x="0" y="175"/>
                    <a:pt x="0" y="113"/>
                  </a:cubicBezTo>
                  <a:cubicBezTo>
                    <a:pt x="0" y="50"/>
                    <a:pt x="48" y="0"/>
                    <a:pt x="106" y="0"/>
                  </a:cubicBezTo>
                  <a:cubicBezTo>
                    <a:pt x="165" y="0"/>
                    <a:pt x="212" y="50"/>
                    <a:pt x="212" y="113"/>
                  </a:cubicBezTo>
                  <a:cubicBezTo>
                    <a:pt x="212" y="175"/>
                    <a:pt x="165" y="225"/>
                    <a:pt x="106" y="225"/>
                  </a:cubicBezTo>
                  <a:close/>
                  <a:moveTo>
                    <a:pt x="106" y="4"/>
                  </a:moveTo>
                  <a:cubicBezTo>
                    <a:pt x="50" y="4"/>
                    <a:pt x="4" y="53"/>
                    <a:pt x="4" y="113"/>
                  </a:cubicBezTo>
                  <a:cubicBezTo>
                    <a:pt x="4" y="173"/>
                    <a:pt x="50" y="221"/>
                    <a:pt x="106" y="221"/>
                  </a:cubicBezTo>
                  <a:cubicBezTo>
                    <a:pt x="163" y="221"/>
                    <a:pt x="208" y="173"/>
                    <a:pt x="208" y="113"/>
                  </a:cubicBezTo>
                  <a:cubicBezTo>
                    <a:pt x="208" y="53"/>
                    <a:pt x="163" y="4"/>
                    <a:pt x="106" y="4"/>
                  </a:cubicBezTo>
                  <a:close/>
                </a:path>
              </a:pathLst>
            </a:cu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śľiḋê">
              <a:extLst>
                <a:ext uri="{FF2B5EF4-FFF2-40B4-BE49-F238E27FC236}">
                  <a16:creationId xmlns:a16="http://schemas.microsoft.com/office/drawing/2014/main" id="{5AC65AB7-9C62-433B-9CD8-3EC4344191A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50138" y="2863851"/>
              <a:ext cx="912813" cy="900113"/>
            </a:xfrm>
            <a:prstGeom prst="ellipse">
              <a:avLst/>
            </a:prstGeom>
            <a:solidFill>
              <a:srgbClr val="FFF1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šḷîḍé">
              <a:extLst>
                <a:ext uri="{FF2B5EF4-FFF2-40B4-BE49-F238E27FC236}">
                  <a16:creationId xmlns:a16="http://schemas.microsoft.com/office/drawing/2014/main" id="{38BC510E-5F5A-4750-94A5-14539B130CA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034338" y="3257551"/>
              <a:ext cx="534988" cy="533400"/>
            </a:xfrm>
            <a:custGeom>
              <a:avLst/>
              <a:gdLst>
                <a:gd name="T0" fmla="*/ 88 w 98"/>
                <a:gd name="T1" fmla="*/ 56 h 98"/>
                <a:gd name="T2" fmla="*/ 98 w 98"/>
                <a:gd name="T3" fmla="*/ 54 h 98"/>
                <a:gd name="T4" fmla="*/ 96 w 98"/>
                <a:gd name="T5" fmla="*/ 36 h 98"/>
                <a:gd name="T6" fmla="*/ 87 w 98"/>
                <a:gd name="T7" fmla="*/ 35 h 98"/>
                <a:gd name="T8" fmla="*/ 86 w 98"/>
                <a:gd name="T9" fmla="*/ 32 h 98"/>
                <a:gd name="T10" fmla="*/ 92 w 98"/>
                <a:gd name="T11" fmla="*/ 25 h 98"/>
                <a:gd name="T12" fmla="*/ 81 w 98"/>
                <a:gd name="T13" fmla="*/ 11 h 98"/>
                <a:gd name="T14" fmla="*/ 72 w 98"/>
                <a:gd name="T15" fmla="*/ 16 h 98"/>
                <a:gd name="T16" fmla="*/ 69 w 98"/>
                <a:gd name="T17" fmla="*/ 14 h 98"/>
                <a:gd name="T18" fmla="*/ 71 w 98"/>
                <a:gd name="T19" fmla="*/ 5 h 98"/>
                <a:gd name="T20" fmla="*/ 53 w 98"/>
                <a:gd name="T21" fmla="*/ 0 h 98"/>
                <a:gd name="T22" fmla="*/ 49 w 98"/>
                <a:gd name="T23" fmla="*/ 9 h 98"/>
                <a:gd name="T24" fmla="*/ 49 w 98"/>
                <a:gd name="T25" fmla="*/ 9 h 98"/>
                <a:gd name="T26" fmla="*/ 45 w 98"/>
                <a:gd name="T27" fmla="*/ 9 h 98"/>
                <a:gd name="T28" fmla="*/ 40 w 98"/>
                <a:gd name="T29" fmla="*/ 0 h 98"/>
                <a:gd name="T30" fmla="*/ 23 w 98"/>
                <a:gd name="T31" fmla="*/ 7 h 98"/>
                <a:gd name="T32" fmla="*/ 26 w 98"/>
                <a:gd name="T33" fmla="*/ 16 h 98"/>
                <a:gd name="T34" fmla="*/ 22 w 98"/>
                <a:gd name="T35" fmla="*/ 19 h 98"/>
                <a:gd name="T36" fmla="*/ 13 w 98"/>
                <a:gd name="T37" fmla="*/ 15 h 98"/>
                <a:gd name="T38" fmla="*/ 4 w 98"/>
                <a:gd name="T39" fmla="*/ 31 h 98"/>
                <a:gd name="T40" fmla="*/ 11 w 98"/>
                <a:gd name="T41" fmla="*/ 37 h 98"/>
                <a:gd name="T42" fmla="*/ 10 w 98"/>
                <a:gd name="T43" fmla="*/ 41 h 98"/>
                <a:gd name="T44" fmla="*/ 0 w 98"/>
                <a:gd name="T45" fmla="*/ 42 h 98"/>
                <a:gd name="T46" fmla="*/ 2 w 98"/>
                <a:gd name="T47" fmla="*/ 61 h 98"/>
                <a:gd name="T48" fmla="*/ 11 w 98"/>
                <a:gd name="T49" fmla="*/ 61 h 98"/>
                <a:gd name="T50" fmla="*/ 13 w 98"/>
                <a:gd name="T51" fmla="*/ 65 h 98"/>
                <a:gd name="T52" fmla="*/ 6 w 98"/>
                <a:gd name="T53" fmla="*/ 72 h 98"/>
                <a:gd name="T54" fmla="*/ 18 w 98"/>
                <a:gd name="T55" fmla="*/ 86 h 98"/>
                <a:gd name="T56" fmla="*/ 26 w 98"/>
                <a:gd name="T57" fmla="*/ 81 h 98"/>
                <a:gd name="T58" fmla="*/ 29 w 98"/>
                <a:gd name="T59" fmla="*/ 83 h 98"/>
                <a:gd name="T60" fmla="*/ 28 w 98"/>
                <a:gd name="T61" fmla="*/ 93 h 98"/>
                <a:gd name="T62" fmla="*/ 46 w 98"/>
                <a:gd name="T63" fmla="*/ 98 h 98"/>
                <a:gd name="T64" fmla="*/ 49 w 98"/>
                <a:gd name="T65" fmla="*/ 89 h 98"/>
                <a:gd name="T66" fmla="*/ 54 w 98"/>
                <a:gd name="T67" fmla="*/ 88 h 98"/>
                <a:gd name="T68" fmla="*/ 59 w 98"/>
                <a:gd name="T69" fmla="*/ 97 h 98"/>
                <a:gd name="T70" fmla="*/ 76 w 98"/>
                <a:gd name="T71" fmla="*/ 90 h 98"/>
                <a:gd name="T72" fmla="*/ 74 w 98"/>
                <a:gd name="T73" fmla="*/ 80 h 98"/>
                <a:gd name="T74" fmla="*/ 77 w 98"/>
                <a:gd name="T75" fmla="*/ 78 h 98"/>
                <a:gd name="T76" fmla="*/ 86 w 98"/>
                <a:gd name="T77" fmla="*/ 81 h 98"/>
                <a:gd name="T78" fmla="*/ 95 w 98"/>
                <a:gd name="T79" fmla="*/ 66 h 98"/>
                <a:gd name="T80" fmla="*/ 88 w 98"/>
                <a:gd name="T81" fmla="*/ 60 h 98"/>
                <a:gd name="T82" fmla="*/ 88 w 98"/>
                <a:gd name="T83" fmla="*/ 56 h 98"/>
                <a:gd name="T84" fmla="*/ 49 w 98"/>
                <a:gd name="T85" fmla="*/ 58 h 98"/>
                <a:gd name="T86" fmla="*/ 40 w 98"/>
                <a:gd name="T87" fmla="*/ 49 h 98"/>
                <a:gd name="T88" fmla="*/ 49 w 98"/>
                <a:gd name="T89" fmla="*/ 40 h 98"/>
                <a:gd name="T90" fmla="*/ 58 w 98"/>
                <a:gd name="T91" fmla="*/ 49 h 98"/>
                <a:gd name="T92" fmla="*/ 49 w 98"/>
                <a:gd name="T93" fmla="*/ 5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8" h="98">
                  <a:moveTo>
                    <a:pt x="88" y="56"/>
                  </a:moveTo>
                  <a:cubicBezTo>
                    <a:pt x="98" y="54"/>
                    <a:pt x="98" y="54"/>
                    <a:pt x="98" y="5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6" y="34"/>
                    <a:pt x="86" y="33"/>
                    <a:pt x="86" y="3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1" y="16"/>
                    <a:pt x="70" y="15"/>
                    <a:pt x="69" y="14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8" y="9"/>
                    <a:pt x="46" y="9"/>
                    <a:pt x="45" y="9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4" y="17"/>
                    <a:pt x="23" y="18"/>
                    <a:pt x="22" y="19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8"/>
                    <a:pt x="10" y="39"/>
                    <a:pt x="10" y="4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3"/>
                    <a:pt x="12" y="64"/>
                    <a:pt x="13" y="65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2"/>
                    <a:pt x="28" y="83"/>
                    <a:pt x="29" y="83"/>
                  </a:cubicBezTo>
                  <a:cubicBezTo>
                    <a:pt x="28" y="93"/>
                    <a:pt x="28" y="93"/>
                    <a:pt x="28" y="93"/>
                  </a:cubicBezTo>
                  <a:cubicBezTo>
                    <a:pt x="46" y="98"/>
                    <a:pt x="46" y="98"/>
                    <a:pt x="46" y="98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1" y="89"/>
                    <a:pt x="53" y="89"/>
                    <a:pt x="54" y="88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76" y="90"/>
                    <a:pt x="76" y="90"/>
                    <a:pt x="76" y="90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5" y="79"/>
                    <a:pt x="76" y="79"/>
                    <a:pt x="77" y="78"/>
                  </a:cubicBezTo>
                  <a:cubicBezTo>
                    <a:pt x="86" y="81"/>
                    <a:pt x="86" y="81"/>
                    <a:pt x="86" y="81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58"/>
                    <a:pt x="88" y="57"/>
                    <a:pt x="88" y="56"/>
                  </a:cubicBezTo>
                  <a:close/>
                  <a:moveTo>
                    <a:pt x="49" y="58"/>
                  </a:moveTo>
                  <a:cubicBezTo>
                    <a:pt x="44" y="58"/>
                    <a:pt x="40" y="54"/>
                    <a:pt x="40" y="49"/>
                  </a:cubicBezTo>
                  <a:cubicBezTo>
                    <a:pt x="40" y="44"/>
                    <a:pt x="44" y="40"/>
                    <a:pt x="49" y="40"/>
                  </a:cubicBezTo>
                  <a:cubicBezTo>
                    <a:pt x="54" y="40"/>
                    <a:pt x="58" y="44"/>
                    <a:pt x="58" y="49"/>
                  </a:cubicBezTo>
                  <a:cubicBezTo>
                    <a:pt x="58" y="54"/>
                    <a:pt x="54" y="58"/>
                    <a:pt x="49" y="58"/>
                  </a:cubicBezTo>
                  <a:close/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$1iḍè">
              <a:extLst>
                <a:ext uri="{FF2B5EF4-FFF2-40B4-BE49-F238E27FC236}">
                  <a16:creationId xmlns:a16="http://schemas.microsoft.com/office/drawing/2014/main" id="{BE279C16-537C-476A-8F00-A961604CE25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46750" y="1101726"/>
              <a:ext cx="1327150" cy="1331913"/>
            </a:xfrm>
            <a:custGeom>
              <a:avLst/>
              <a:gdLst>
                <a:gd name="T0" fmla="*/ 219 w 243"/>
                <a:gd name="T1" fmla="*/ 140 h 244"/>
                <a:gd name="T2" fmla="*/ 243 w 243"/>
                <a:gd name="T3" fmla="*/ 135 h 244"/>
                <a:gd name="T4" fmla="*/ 239 w 243"/>
                <a:gd name="T5" fmla="*/ 89 h 244"/>
                <a:gd name="T6" fmla="*/ 215 w 243"/>
                <a:gd name="T7" fmla="*/ 88 h 244"/>
                <a:gd name="T8" fmla="*/ 212 w 243"/>
                <a:gd name="T9" fmla="*/ 81 h 244"/>
                <a:gd name="T10" fmla="*/ 228 w 243"/>
                <a:gd name="T11" fmla="*/ 63 h 244"/>
                <a:gd name="T12" fmla="*/ 200 w 243"/>
                <a:gd name="T13" fmla="*/ 28 h 244"/>
                <a:gd name="T14" fmla="*/ 179 w 243"/>
                <a:gd name="T15" fmla="*/ 41 h 244"/>
                <a:gd name="T16" fmla="*/ 172 w 243"/>
                <a:gd name="T17" fmla="*/ 36 h 244"/>
                <a:gd name="T18" fmla="*/ 175 w 243"/>
                <a:gd name="T19" fmla="*/ 12 h 244"/>
                <a:gd name="T20" fmla="*/ 131 w 243"/>
                <a:gd name="T21" fmla="*/ 0 h 244"/>
                <a:gd name="T22" fmla="*/ 122 w 243"/>
                <a:gd name="T23" fmla="*/ 22 h 244"/>
                <a:gd name="T24" fmla="*/ 121 w 243"/>
                <a:gd name="T25" fmla="*/ 22 h 244"/>
                <a:gd name="T26" fmla="*/ 111 w 243"/>
                <a:gd name="T27" fmla="*/ 23 h 244"/>
                <a:gd name="T28" fmla="*/ 99 w 243"/>
                <a:gd name="T29" fmla="*/ 2 h 244"/>
                <a:gd name="T30" fmla="*/ 57 w 243"/>
                <a:gd name="T31" fmla="*/ 18 h 244"/>
                <a:gd name="T32" fmla="*/ 62 w 243"/>
                <a:gd name="T33" fmla="*/ 41 h 244"/>
                <a:gd name="T34" fmla="*/ 53 w 243"/>
                <a:gd name="T35" fmla="*/ 49 h 244"/>
                <a:gd name="T36" fmla="*/ 32 w 243"/>
                <a:gd name="T37" fmla="*/ 39 h 244"/>
                <a:gd name="T38" fmla="*/ 7 w 243"/>
                <a:gd name="T39" fmla="*/ 77 h 244"/>
                <a:gd name="T40" fmla="*/ 26 w 243"/>
                <a:gd name="T41" fmla="*/ 92 h 244"/>
                <a:gd name="T42" fmla="*/ 23 w 243"/>
                <a:gd name="T43" fmla="*/ 102 h 244"/>
                <a:gd name="T44" fmla="*/ 0 w 243"/>
                <a:gd name="T45" fmla="*/ 106 h 244"/>
                <a:gd name="T46" fmla="*/ 3 w 243"/>
                <a:gd name="T47" fmla="*/ 152 h 244"/>
                <a:gd name="T48" fmla="*/ 26 w 243"/>
                <a:gd name="T49" fmla="*/ 153 h 244"/>
                <a:gd name="T50" fmla="*/ 30 w 243"/>
                <a:gd name="T51" fmla="*/ 163 h 244"/>
                <a:gd name="T52" fmla="*/ 14 w 243"/>
                <a:gd name="T53" fmla="*/ 180 h 244"/>
                <a:gd name="T54" fmla="*/ 43 w 243"/>
                <a:gd name="T55" fmla="*/ 216 h 244"/>
                <a:gd name="T56" fmla="*/ 63 w 243"/>
                <a:gd name="T57" fmla="*/ 203 h 244"/>
                <a:gd name="T58" fmla="*/ 72 w 243"/>
                <a:gd name="T59" fmla="*/ 209 h 244"/>
                <a:gd name="T60" fmla="*/ 69 w 243"/>
                <a:gd name="T61" fmla="*/ 232 h 244"/>
                <a:gd name="T62" fmla="*/ 113 w 243"/>
                <a:gd name="T63" fmla="*/ 244 h 244"/>
                <a:gd name="T64" fmla="*/ 122 w 243"/>
                <a:gd name="T65" fmla="*/ 222 h 244"/>
                <a:gd name="T66" fmla="*/ 134 w 243"/>
                <a:gd name="T67" fmla="*/ 221 h 244"/>
                <a:gd name="T68" fmla="*/ 146 w 243"/>
                <a:gd name="T69" fmla="*/ 241 h 244"/>
                <a:gd name="T70" fmla="*/ 188 w 243"/>
                <a:gd name="T71" fmla="*/ 224 h 244"/>
                <a:gd name="T72" fmla="*/ 182 w 243"/>
                <a:gd name="T73" fmla="*/ 201 h 244"/>
                <a:gd name="T74" fmla="*/ 190 w 243"/>
                <a:gd name="T75" fmla="*/ 194 h 244"/>
                <a:gd name="T76" fmla="*/ 212 w 243"/>
                <a:gd name="T77" fmla="*/ 204 h 244"/>
                <a:gd name="T78" fmla="*/ 236 w 243"/>
                <a:gd name="T79" fmla="*/ 165 h 244"/>
                <a:gd name="T80" fmla="*/ 217 w 243"/>
                <a:gd name="T81" fmla="*/ 150 h 244"/>
                <a:gd name="T82" fmla="*/ 219 w 243"/>
                <a:gd name="T83" fmla="*/ 140 h 244"/>
                <a:gd name="T84" fmla="*/ 121 w 243"/>
                <a:gd name="T85" fmla="*/ 145 h 244"/>
                <a:gd name="T86" fmla="*/ 98 w 243"/>
                <a:gd name="T87" fmla="*/ 122 h 244"/>
                <a:gd name="T88" fmla="*/ 121 w 243"/>
                <a:gd name="T89" fmla="*/ 99 h 244"/>
                <a:gd name="T90" fmla="*/ 144 w 243"/>
                <a:gd name="T91" fmla="*/ 122 h 244"/>
                <a:gd name="T92" fmla="*/ 121 w 243"/>
                <a:gd name="T93" fmla="*/ 14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3" h="244">
                  <a:moveTo>
                    <a:pt x="219" y="140"/>
                  </a:moveTo>
                  <a:cubicBezTo>
                    <a:pt x="243" y="135"/>
                    <a:pt x="243" y="135"/>
                    <a:pt x="243" y="135"/>
                  </a:cubicBezTo>
                  <a:cubicBezTo>
                    <a:pt x="239" y="89"/>
                    <a:pt x="239" y="89"/>
                    <a:pt x="239" y="89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4" y="86"/>
                    <a:pt x="213" y="83"/>
                    <a:pt x="212" y="81"/>
                  </a:cubicBezTo>
                  <a:cubicBezTo>
                    <a:pt x="228" y="63"/>
                    <a:pt x="228" y="63"/>
                    <a:pt x="228" y="63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179" y="41"/>
                    <a:pt x="179" y="41"/>
                    <a:pt x="179" y="41"/>
                  </a:cubicBezTo>
                  <a:cubicBezTo>
                    <a:pt x="177" y="39"/>
                    <a:pt x="174" y="38"/>
                    <a:pt x="172" y="36"/>
                  </a:cubicBezTo>
                  <a:cubicBezTo>
                    <a:pt x="175" y="12"/>
                    <a:pt x="175" y="12"/>
                    <a:pt x="175" y="12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18" y="22"/>
                    <a:pt x="114" y="22"/>
                    <a:pt x="111" y="23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9" y="44"/>
                    <a:pt x="56" y="46"/>
                    <a:pt x="53" y="4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26" y="92"/>
                    <a:pt x="26" y="92"/>
                    <a:pt x="26" y="92"/>
                  </a:cubicBezTo>
                  <a:cubicBezTo>
                    <a:pt x="25" y="95"/>
                    <a:pt x="24" y="98"/>
                    <a:pt x="23" y="102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26" y="153"/>
                    <a:pt x="26" y="153"/>
                    <a:pt x="26" y="153"/>
                  </a:cubicBezTo>
                  <a:cubicBezTo>
                    <a:pt x="28" y="157"/>
                    <a:pt x="29" y="160"/>
                    <a:pt x="30" y="163"/>
                  </a:cubicBezTo>
                  <a:cubicBezTo>
                    <a:pt x="14" y="180"/>
                    <a:pt x="14" y="180"/>
                    <a:pt x="14" y="180"/>
                  </a:cubicBezTo>
                  <a:cubicBezTo>
                    <a:pt x="43" y="216"/>
                    <a:pt x="43" y="216"/>
                    <a:pt x="43" y="216"/>
                  </a:cubicBezTo>
                  <a:cubicBezTo>
                    <a:pt x="63" y="203"/>
                    <a:pt x="63" y="203"/>
                    <a:pt x="63" y="203"/>
                  </a:cubicBezTo>
                  <a:cubicBezTo>
                    <a:pt x="66" y="205"/>
                    <a:pt x="69" y="207"/>
                    <a:pt x="72" y="209"/>
                  </a:cubicBezTo>
                  <a:cubicBezTo>
                    <a:pt x="69" y="232"/>
                    <a:pt x="69" y="232"/>
                    <a:pt x="69" y="232"/>
                  </a:cubicBezTo>
                  <a:cubicBezTo>
                    <a:pt x="113" y="244"/>
                    <a:pt x="113" y="244"/>
                    <a:pt x="113" y="244"/>
                  </a:cubicBezTo>
                  <a:cubicBezTo>
                    <a:pt x="122" y="222"/>
                    <a:pt x="122" y="222"/>
                    <a:pt x="122" y="222"/>
                  </a:cubicBezTo>
                  <a:cubicBezTo>
                    <a:pt x="126" y="222"/>
                    <a:pt x="130" y="221"/>
                    <a:pt x="134" y="221"/>
                  </a:cubicBezTo>
                  <a:cubicBezTo>
                    <a:pt x="146" y="241"/>
                    <a:pt x="146" y="241"/>
                    <a:pt x="146" y="241"/>
                  </a:cubicBezTo>
                  <a:cubicBezTo>
                    <a:pt x="188" y="224"/>
                    <a:pt x="188" y="224"/>
                    <a:pt x="188" y="224"/>
                  </a:cubicBezTo>
                  <a:cubicBezTo>
                    <a:pt x="182" y="201"/>
                    <a:pt x="182" y="201"/>
                    <a:pt x="182" y="201"/>
                  </a:cubicBezTo>
                  <a:cubicBezTo>
                    <a:pt x="185" y="199"/>
                    <a:pt x="187" y="196"/>
                    <a:pt x="190" y="194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36" y="165"/>
                    <a:pt x="236" y="165"/>
                    <a:pt x="236" y="165"/>
                  </a:cubicBezTo>
                  <a:cubicBezTo>
                    <a:pt x="217" y="150"/>
                    <a:pt x="217" y="150"/>
                    <a:pt x="217" y="150"/>
                  </a:cubicBezTo>
                  <a:cubicBezTo>
                    <a:pt x="218" y="146"/>
                    <a:pt x="219" y="143"/>
                    <a:pt x="219" y="140"/>
                  </a:cubicBezTo>
                  <a:close/>
                  <a:moveTo>
                    <a:pt x="121" y="145"/>
                  </a:moveTo>
                  <a:cubicBezTo>
                    <a:pt x="108" y="145"/>
                    <a:pt x="98" y="134"/>
                    <a:pt x="98" y="122"/>
                  </a:cubicBezTo>
                  <a:cubicBezTo>
                    <a:pt x="98" y="109"/>
                    <a:pt x="108" y="99"/>
                    <a:pt x="121" y="99"/>
                  </a:cubicBezTo>
                  <a:cubicBezTo>
                    <a:pt x="134" y="99"/>
                    <a:pt x="144" y="109"/>
                    <a:pt x="144" y="122"/>
                  </a:cubicBezTo>
                  <a:cubicBezTo>
                    <a:pt x="144" y="134"/>
                    <a:pt x="134" y="145"/>
                    <a:pt x="121" y="145"/>
                  </a:cubicBezTo>
                  <a:close/>
                </a:path>
              </a:pathLst>
            </a:custGeom>
            <a:solidFill>
              <a:srgbClr val="EFC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ṡḻïḍé">
              <a:extLst>
                <a:ext uri="{FF2B5EF4-FFF2-40B4-BE49-F238E27FC236}">
                  <a16:creationId xmlns:a16="http://schemas.microsoft.com/office/drawing/2014/main" id="{C78DCF94-C439-458D-9319-08F57A6336B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83150" y="1641476"/>
              <a:ext cx="879475" cy="879475"/>
            </a:xfrm>
            <a:custGeom>
              <a:avLst/>
              <a:gdLst>
                <a:gd name="T0" fmla="*/ 145 w 161"/>
                <a:gd name="T1" fmla="*/ 92 h 161"/>
                <a:gd name="T2" fmla="*/ 161 w 161"/>
                <a:gd name="T3" fmla="*/ 89 h 161"/>
                <a:gd name="T4" fmla="*/ 158 w 161"/>
                <a:gd name="T5" fmla="*/ 59 h 161"/>
                <a:gd name="T6" fmla="*/ 142 w 161"/>
                <a:gd name="T7" fmla="*/ 58 h 161"/>
                <a:gd name="T8" fmla="*/ 140 w 161"/>
                <a:gd name="T9" fmla="*/ 53 h 161"/>
                <a:gd name="T10" fmla="*/ 151 w 161"/>
                <a:gd name="T11" fmla="*/ 42 h 161"/>
                <a:gd name="T12" fmla="*/ 132 w 161"/>
                <a:gd name="T13" fmla="*/ 19 h 161"/>
                <a:gd name="T14" fmla="*/ 119 w 161"/>
                <a:gd name="T15" fmla="*/ 27 h 161"/>
                <a:gd name="T16" fmla="*/ 114 w 161"/>
                <a:gd name="T17" fmla="*/ 24 h 161"/>
                <a:gd name="T18" fmla="*/ 116 w 161"/>
                <a:gd name="T19" fmla="*/ 8 h 161"/>
                <a:gd name="T20" fmla="*/ 87 w 161"/>
                <a:gd name="T21" fmla="*/ 0 h 161"/>
                <a:gd name="T22" fmla="*/ 81 w 161"/>
                <a:gd name="T23" fmla="*/ 15 h 161"/>
                <a:gd name="T24" fmla="*/ 80 w 161"/>
                <a:gd name="T25" fmla="*/ 15 h 161"/>
                <a:gd name="T26" fmla="*/ 73 w 161"/>
                <a:gd name="T27" fmla="*/ 15 h 161"/>
                <a:gd name="T28" fmla="*/ 66 w 161"/>
                <a:gd name="T29" fmla="*/ 1 h 161"/>
                <a:gd name="T30" fmla="*/ 38 w 161"/>
                <a:gd name="T31" fmla="*/ 12 h 161"/>
                <a:gd name="T32" fmla="*/ 41 w 161"/>
                <a:gd name="T33" fmla="*/ 27 h 161"/>
                <a:gd name="T34" fmla="*/ 36 w 161"/>
                <a:gd name="T35" fmla="*/ 32 h 161"/>
                <a:gd name="T36" fmla="*/ 21 w 161"/>
                <a:gd name="T37" fmla="*/ 25 h 161"/>
                <a:gd name="T38" fmla="*/ 5 w 161"/>
                <a:gd name="T39" fmla="*/ 51 h 161"/>
                <a:gd name="T40" fmla="*/ 17 w 161"/>
                <a:gd name="T41" fmla="*/ 61 h 161"/>
                <a:gd name="T42" fmla="*/ 16 w 161"/>
                <a:gd name="T43" fmla="*/ 67 h 161"/>
                <a:gd name="T44" fmla="*/ 0 w 161"/>
                <a:gd name="T45" fmla="*/ 70 h 161"/>
                <a:gd name="T46" fmla="*/ 2 w 161"/>
                <a:gd name="T47" fmla="*/ 100 h 161"/>
                <a:gd name="T48" fmla="*/ 18 w 161"/>
                <a:gd name="T49" fmla="*/ 101 h 161"/>
                <a:gd name="T50" fmla="*/ 20 w 161"/>
                <a:gd name="T51" fmla="*/ 108 h 161"/>
                <a:gd name="T52" fmla="*/ 9 w 161"/>
                <a:gd name="T53" fmla="*/ 119 h 161"/>
                <a:gd name="T54" fmla="*/ 28 w 161"/>
                <a:gd name="T55" fmla="*/ 142 h 161"/>
                <a:gd name="T56" fmla="*/ 42 w 161"/>
                <a:gd name="T57" fmla="*/ 134 h 161"/>
                <a:gd name="T58" fmla="*/ 48 w 161"/>
                <a:gd name="T59" fmla="*/ 138 h 161"/>
                <a:gd name="T60" fmla="*/ 46 w 161"/>
                <a:gd name="T61" fmla="*/ 153 h 161"/>
                <a:gd name="T62" fmla="*/ 75 w 161"/>
                <a:gd name="T63" fmla="*/ 161 h 161"/>
                <a:gd name="T64" fmla="*/ 81 w 161"/>
                <a:gd name="T65" fmla="*/ 146 h 161"/>
                <a:gd name="T66" fmla="*/ 89 w 161"/>
                <a:gd name="T67" fmla="*/ 146 h 161"/>
                <a:gd name="T68" fmla="*/ 97 w 161"/>
                <a:gd name="T69" fmla="*/ 159 h 161"/>
                <a:gd name="T70" fmla="*/ 125 w 161"/>
                <a:gd name="T71" fmla="*/ 148 h 161"/>
                <a:gd name="T72" fmla="*/ 120 w 161"/>
                <a:gd name="T73" fmla="*/ 133 h 161"/>
                <a:gd name="T74" fmla="*/ 126 w 161"/>
                <a:gd name="T75" fmla="*/ 128 h 161"/>
                <a:gd name="T76" fmla="*/ 140 w 161"/>
                <a:gd name="T77" fmla="*/ 134 h 161"/>
                <a:gd name="T78" fmla="*/ 156 w 161"/>
                <a:gd name="T79" fmla="*/ 109 h 161"/>
                <a:gd name="T80" fmla="*/ 144 w 161"/>
                <a:gd name="T81" fmla="*/ 99 h 161"/>
                <a:gd name="T82" fmla="*/ 145 w 161"/>
                <a:gd name="T83" fmla="*/ 92 h 161"/>
                <a:gd name="T84" fmla="*/ 80 w 161"/>
                <a:gd name="T85" fmla="*/ 96 h 161"/>
                <a:gd name="T86" fmla="*/ 65 w 161"/>
                <a:gd name="T87" fmla="*/ 80 h 161"/>
                <a:gd name="T88" fmla="*/ 80 w 161"/>
                <a:gd name="T89" fmla="*/ 65 h 161"/>
                <a:gd name="T90" fmla="*/ 95 w 161"/>
                <a:gd name="T91" fmla="*/ 80 h 161"/>
                <a:gd name="T92" fmla="*/ 80 w 161"/>
                <a:gd name="T93" fmla="*/ 9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1" h="161">
                  <a:moveTo>
                    <a:pt x="145" y="92"/>
                  </a:moveTo>
                  <a:cubicBezTo>
                    <a:pt x="161" y="89"/>
                    <a:pt x="161" y="89"/>
                    <a:pt x="161" y="89"/>
                  </a:cubicBezTo>
                  <a:cubicBezTo>
                    <a:pt x="158" y="59"/>
                    <a:pt x="158" y="59"/>
                    <a:pt x="158" y="59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7"/>
                    <a:pt x="141" y="55"/>
                    <a:pt x="140" y="53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7" y="26"/>
                    <a:pt x="115" y="25"/>
                    <a:pt x="114" y="24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15"/>
                    <a:pt x="76" y="15"/>
                    <a:pt x="73" y="15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39" y="29"/>
                    <a:pt x="37" y="30"/>
                    <a:pt x="36" y="32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3"/>
                    <a:pt x="16" y="65"/>
                    <a:pt x="16" y="67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8" y="103"/>
                    <a:pt x="19" y="106"/>
                    <a:pt x="20" y="108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35"/>
                    <a:pt x="46" y="137"/>
                    <a:pt x="48" y="138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75" y="161"/>
                    <a:pt x="75" y="161"/>
                    <a:pt x="75" y="161"/>
                  </a:cubicBezTo>
                  <a:cubicBezTo>
                    <a:pt x="81" y="146"/>
                    <a:pt x="81" y="146"/>
                    <a:pt x="81" y="146"/>
                  </a:cubicBezTo>
                  <a:cubicBezTo>
                    <a:pt x="84" y="146"/>
                    <a:pt x="86" y="146"/>
                    <a:pt x="89" y="146"/>
                  </a:cubicBezTo>
                  <a:cubicBezTo>
                    <a:pt x="97" y="159"/>
                    <a:pt x="97" y="159"/>
                    <a:pt x="97" y="159"/>
                  </a:cubicBezTo>
                  <a:cubicBezTo>
                    <a:pt x="125" y="148"/>
                    <a:pt x="125" y="148"/>
                    <a:pt x="125" y="148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22" y="131"/>
                    <a:pt x="124" y="130"/>
                    <a:pt x="126" y="128"/>
                  </a:cubicBezTo>
                  <a:cubicBezTo>
                    <a:pt x="140" y="134"/>
                    <a:pt x="140" y="134"/>
                    <a:pt x="140" y="134"/>
                  </a:cubicBezTo>
                  <a:cubicBezTo>
                    <a:pt x="156" y="109"/>
                    <a:pt x="156" y="109"/>
                    <a:pt x="156" y="109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4" y="97"/>
                    <a:pt x="145" y="94"/>
                    <a:pt x="145" y="92"/>
                  </a:cubicBezTo>
                  <a:close/>
                  <a:moveTo>
                    <a:pt x="80" y="96"/>
                  </a:moveTo>
                  <a:cubicBezTo>
                    <a:pt x="72" y="96"/>
                    <a:pt x="65" y="89"/>
                    <a:pt x="65" y="80"/>
                  </a:cubicBezTo>
                  <a:cubicBezTo>
                    <a:pt x="65" y="72"/>
                    <a:pt x="72" y="65"/>
                    <a:pt x="80" y="65"/>
                  </a:cubicBezTo>
                  <a:cubicBezTo>
                    <a:pt x="89" y="65"/>
                    <a:pt x="95" y="72"/>
                    <a:pt x="95" y="80"/>
                  </a:cubicBezTo>
                  <a:cubicBezTo>
                    <a:pt x="95" y="89"/>
                    <a:pt x="89" y="96"/>
                    <a:pt x="80" y="96"/>
                  </a:cubicBezTo>
                  <a:close/>
                </a:path>
              </a:pathLst>
            </a:custGeom>
            <a:solidFill>
              <a:srgbClr val="FFDD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ṥļîḍè">
              <a:extLst>
                <a:ext uri="{FF2B5EF4-FFF2-40B4-BE49-F238E27FC236}">
                  <a16:creationId xmlns:a16="http://schemas.microsoft.com/office/drawing/2014/main" id="{EB2D829B-19D2-4867-8AC6-A9C8C9F440D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544888" y="2362201"/>
              <a:ext cx="595313" cy="573088"/>
            </a:xfrm>
            <a:prstGeom prst="ellipse">
              <a:avLst/>
            </a:prstGeom>
            <a:solidFill>
              <a:srgbClr val="FFF1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Sľíḍé">
              <a:extLst>
                <a:ext uri="{FF2B5EF4-FFF2-40B4-BE49-F238E27FC236}">
                  <a16:creationId xmlns:a16="http://schemas.microsoft.com/office/drawing/2014/main" id="{6978F5FC-6381-4B05-9D17-9F92A4E02BF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33863" y="2241551"/>
              <a:ext cx="3675063" cy="2794000"/>
            </a:xfrm>
            <a:custGeom>
              <a:avLst/>
              <a:gdLst>
                <a:gd name="T0" fmla="*/ 673 w 673"/>
                <a:gd name="T1" fmla="*/ 491 h 512"/>
                <a:gd name="T2" fmla="*/ 651 w 673"/>
                <a:gd name="T3" fmla="*/ 512 h 512"/>
                <a:gd name="T4" fmla="*/ 21 w 673"/>
                <a:gd name="T5" fmla="*/ 512 h 512"/>
                <a:gd name="T6" fmla="*/ 0 w 673"/>
                <a:gd name="T7" fmla="*/ 491 h 512"/>
                <a:gd name="T8" fmla="*/ 0 w 673"/>
                <a:gd name="T9" fmla="*/ 38 h 512"/>
                <a:gd name="T10" fmla="*/ 0 w 673"/>
                <a:gd name="T11" fmla="*/ 22 h 512"/>
                <a:gd name="T12" fmla="*/ 21 w 673"/>
                <a:gd name="T13" fmla="*/ 0 h 512"/>
                <a:gd name="T14" fmla="*/ 651 w 673"/>
                <a:gd name="T15" fmla="*/ 0 h 512"/>
                <a:gd name="T16" fmla="*/ 673 w 673"/>
                <a:gd name="T17" fmla="*/ 22 h 512"/>
                <a:gd name="T18" fmla="*/ 673 w 673"/>
                <a:gd name="T19" fmla="*/ 38 h 512"/>
                <a:gd name="T20" fmla="*/ 673 w 673"/>
                <a:gd name="T21" fmla="*/ 49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3" h="512">
                  <a:moveTo>
                    <a:pt x="673" y="491"/>
                  </a:moveTo>
                  <a:cubicBezTo>
                    <a:pt x="673" y="503"/>
                    <a:pt x="663" y="512"/>
                    <a:pt x="651" y="512"/>
                  </a:cubicBezTo>
                  <a:cubicBezTo>
                    <a:pt x="21" y="512"/>
                    <a:pt x="21" y="512"/>
                    <a:pt x="21" y="512"/>
                  </a:cubicBezTo>
                  <a:cubicBezTo>
                    <a:pt x="10" y="512"/>
                    <a:pt x="0" y="503"/>
                    <a:pt x="0" y="49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63" y="0"/>
                    <a:pt x="673" y="10"/>
                    <a:pt x="673" y="22"/>
                  </a:cubicBezTo>
                  <a:cubicBezTo>
                    <a:pt x="673" y="38"/>
                    <a:pt x="673" y="38"/>
                    <a:pt x="673" y="38"/>
                  </a:cubicBezTo>
                  <a:cubicBezTo>
                    <a:pt x="673" y="491"/>
                    <a:pt x="673" y="491"/>
                    <a:pt x="673" y="491"/>
                  </a:cubicBezTo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sļiďê">
              <a:extLst>
                <a:ext uri="{FF2B5EF4-FFF2-40B4-BE49-F238E27FC236}">
                  <a16:creationId xmlns:a16="http://schemas.microsoft.com/office/drawing/2014/main" id="{8DC30A07-ABE0-4180-9A4E-095019C9623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33863" y="2241551"/>
              <a:ext cx="3675063" cy="207963"/>
            </a:xfrm>
            <a:custGeom>
              <a:avLst/>
              <a:gdLst>
                <a:gd name="T0" fmla="*/ 0 w 673"/>
                <a:gd name="T1" fmla="*/ 38 h 38"/>
                <a:gd name="T2" fmla="*/ 0 w 673"/>
                <a:gd name="T3" fmla="*/ 22 h 38"/>
                <a:gd name="T4" fmla="*/ 21 w 673"/>
                <a:gd name="T5" fmla="*/ 0 h 38"/>
                <a:gd name="T6" fmla="*/ 651 w 673"/>
                <a:gd name="T7" fmla="*/ 0 h 38"/>
                <a:gd name="T8" fmla="*/ 673 w 673"/>
                <a:gd name="T9" fmla="*/ 22 h 38"/>
                <a:gd name="T10" fmla="*/ 673 w 673"/>
                <a:gd name="T11" fmla="*/ 38 h 38"/>
                <a:gd name="T12" fmla="*/ 0 w 673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3" h="38">
                  <a:moveTo>
                    <a:pt x="0" y="38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63" y="0"/>
                    <a:pt x="673" y="10"/>
                    <a:pt x="673" y="22"/>
                  </a:cubicBezTo>
                  <a:cubicBezTo>
                    <a:pt x="673" y="38"/>
                    <a:pt x="673" y="38"/>
                    <a:pt x="673" y="38"/>
                  </a:cubicBezTo>
                  <a:lnTo>
                    <a:pt x="0" y="38"/>
                  </a:lnTo>
                  <a:close/>
                </a:path>
              </a:pathLst>
            </a:cu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iSḷïḓe">
              <a:extLst>
                <a:ext uri="{FF2B5EF4-FFF2-40B4-BE49-F238E27FC236}">
                  <a16:creationId xmlns:a16="http://schemas.microsoft.com/office/drawing/2014/main" id="{D580BBE3-37FB-4E8E-891A-8280189A21B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75150" y="2312988"/>
              <a:ext cx="71438" cy="714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śḷíḓê">
              <a:extLst>
                <a:ext uri="{FF2B5EF4-FFF2-40B4-BE49-F238E27FC236}">
                  <a16:creationId xmlns:a16="http://schemas.microsoft.com/office/drawing/2014/main" id="{7AEFD810-75AE-44D5-A2D6-F27F783BD7F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91038" y="2312988"/>
              <a:ext cx="69850" cy="714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ṩḻîḑé">
              <a:extLst>
                <a:ext uri="{FF2B5EF4-FFF2-40B4-BE49-F238E27FC236}">
                  <a16:creationId xmlns:a16="http://schemas.microsoft.com/office/drawing/2014/main" id="{51AE7B10-89B1-4791-AC6D-F6BC4A5923A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10100" y="2312988"/>
              <a:ext cx="66675" cy="714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ṧļíḍè">
              <a:extLst>
                <a:ext uri="{FF2B5EF4-FFF2-40B4-BE49-F238E27FC236}">
                  <a16:creationId xmlns:a16="http://schemas.microsoft.com/office/drawing/2014/main" id="{B88AEA4B-7099-4349-BECD-41EA2550377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41825" y="2570163"/>
              <a:ext cx="2605088" cy="539750"/>
            </a:xfrm>
            <a:custGeom>
              <a:avLst/>
              <a:gdLst>
                <a:gd name="T0" fmla="*/ 477 w 477"/>
                <a:gd name="T1" fmla="*/ 87 h 99"/>
                <a:gd name="T2" fmla="*/ 465 w 477"/>
                <a:gd name="T3" fmla="*/ 99 h 99"/>
                <a:gd name="T4" fmla="*/ 12 w 477"/>
                <a:gd name="T5" fmla="*/ 99 h 99"/>
                <a:gd name="T6" fmla="*/ 0 w 477"/>
                <a:gd name="T7" fmla="*/ 87 h 99"/>
                <a:gd name="T8" fmla="*/ 0 w 477"/>
                <a:gd name="T9" fmla="*/ 12 h 99"/>
                <a:gd name="T10" fmla="*/ 12 w 477"/>
                <a:gd name="T11" fmla="*/ 0 h 99"/>
                <a:gd name="T12" fmla="*/ 465 w 477"/>
                <a:gd name="T13" fmla="*/ 0 h 99"/>
                <a:gd name="T14" fmla="*/ 477 w 477"/>
                <a:gd name="T15" fmla="*/ 12 h 99"/>
                <a:gd name="T16" fmla="*/ 477 w 477"/>
                <a:gd name="T17" fmla="*/ 8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7" h="99">
                  <a:moveTo>
                    <a:pt x="477" y="87"/>
                  </a:moveTo>
                  <a:cubicBezTo>
                    <a:pt x="477" y="93"/>
                    <a:pt x="472" y="99"/>
                    <a:pt x="465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5" y="99"/>
                    <a:pt x="0" y="93"/>
                    <a:pt x="0" y="8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472" y="0"/>
                    <a:pt x="477" y="6"/>
                    <a:pt x="477" y="12"/>
                  </a:cubicBezTo>
                  <a:lnTo>
                    <a:pt x="477" y="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şḷíḑè">
              <a:extLst>
                <a:ext uri="{FF2B5EF4-FFF2-40B4-BE49-F238E27FC236}">
                  <a16:creationId xmlns:a16="http://schemas.microsoft.com/office/drawing/2014/main" id="{3A5D952E-F272-48AD-B531-F72ECF1BA30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33900" y="3284538"/>
              <a:ext cx="2435225" cy="528638"/>
            </a:xfrm>
            <a:custGeom>
              <a:avLst/>
              <a:gdLst>
                <a:gd name="T0" fmla="*/ 446 w 446"/>
                <a:gd name="T1" fmla="*/ 85 h 97"/>
                <a:gd name="T2" fmla="*/ 434 w 446"/>
                <a:gd name="T3" fmla="*/ 97 h 97"/>
                <a:gd name="T4" fmla="*/ 12 w 446"/>
                <a:gd name="T5" fmla="*/ 97 h 97"/>
                <a:gd name="T6" fmla="*/ 0 w 446"/>
                <a:gd name="T7" fmla="*/ 85 h 97"/>
                <a:gd name="T8" fmla="*/ 0 w 446"/>
                <a:gd name="T9" fmla="*/ 12 h 97"/>
                <a:gd name="T10" fmla="*/ 12 w 446"/>
                <a:gd name="T11" fmla="*/ 0 h 97"/>
                <a:gd name="T12" fmla="*/ 434 w 446"/>
                <a:gd name="T13" fmla="*/ 0 h 97"/>
                <a:gd name="T14" fmla="*/ 446 w 446"/>
                <a:gd name="T15" fmla="*/ 12 h 97"/>
                <a:gd name="T16" fmla="*/ 446 w 446"/>
                <a:gd name="T17" fmla="*/ 8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6" h="97">
                  <a:moveTo>
                    <a:pt x="446" y="85"/>
                  </a:moveTo>
                  <a:cubicBezTo>
                    <a:pt x="446" y="92"/>
                    <a:pt x="441" y="97"/>
                    <a:pt x="434" y="97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5" y="97"/>
                    <a:pt x="0" y="92"/>
                    <a:pt x="0" y="8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441" y="0"/>
                    <a:pt x="446" y="6"/>
                    <a:pt x="446" y="12"/>
                  </a:cubicBezTo>
                  <a:lnTo>
                    <a:pt x="446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śľiďè">
              <a:extLst>
                <a:ext uri="{FF2B5EF4-FFF2-40B4-BE49-F238E27FC236}">
                  <a16:creationId xmlns:a16="http://schemas.microsoft.com/office/drawing/2014/main" id="{E3CCC0D6-F5A1-4BAE-8E60-A3B55640171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65663" y="4249738"/>
              <a:ext cx="2439988" cy="452438"/>
            </a:xfrm>
            <a:custGeom>
              <a:avLst/>
              <a:gdLst>
                <a:gd name="T0" fmla="*/ 447 w 447"/>
                <a:gd name="T1" fmla="*/ 71 h 83"/>
                <a:gd name="T2" fmla="*/ 435 w 447"/>
                <a:gd name="T3" fmla="*/ 83 h 83"/>
                <a:gd name="T4" fmla="*/ 12 w 447"/>
                <a:gd name="T5" fmla="*/ 83 h 83"/>
                <a:gd name="T6" fmla="*/ 0 w 447"/>
                <a:gd name="T7" fmla="*/ 71 h 83"/>
                <a:gd name="T8" fmla="*/ 0 w 447"/>
                <a:gd name="T9" fmla="*/ 12 h 83"/>
                <a:gd name="T10" fmla="*/ 12 w 447"/>
                <a:gd name="T11" fmla="*/ 0 h 83"/>
                <a:gd name="T12" fmla="*/ 435 w 447"/>
                <a:gd name="T13" fmla="*/ 0 h 83"/>
                <a:gd name="T14" fmla="*/ 447 w 447"/>
                <a:gd name="T15" fmla="*/ 12 h 83"/>
                <a:gd name="T16" fmla="*/ 447 w 447"/>
                <a:gd name="T17" fmla="*/ 7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7" h="83">
                  <a:moveTo>
                    <a:pt x="447" y="71"/>
                  </a:moveTo>
                  <a:cubicBezTo>
                    <a:pt x="447" y="77"/>
                    <a:pt x="441" y="83"/>
                    <a:pt x="435" y="83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6" y="83"/>
                    <a:pt x="0" y="77"/>
                    <a:pt x="0" y="7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41" y="0"/>
                    <a:pt x="447" y="6"/>
                    <a:pt x="447" y="12"/>
                  </a:cubicBezTo>
                  <a:cubicBezTo>
                    <a:pt x="447" y="71"/>
                    <a:pt x="447" y="71"/>
                    <a:pt x="447" y="7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ṥḷîďe">
              <a:extLst>
                <a:ext uri="{FF2B5EF4-FFF2-40B4-BE49-F238E27FC236}">
                  <a16:creationId xmlns:a16="http://schemas.microsoft.com/office/drawing/2014/main" id="{D0A43D6D-849B-4867-8DDF-9759869AF39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2662238"/>
              <a:ext cx="1408113" cy="65088"/>
            </a:xfrm>
            <a:prstGeom prst="rect">
              <a:avLst/>
            </a:pr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ṧľîḓe">
              <a:extLst>
                <a:ext uri="{FF2B5EF4-FFF2-40B4-BE49-F238E27FC236}">
                  <a16:creationId xmlns:a16="http://schemas.microsoft.com/office/drawing/2014/main" id="{17F6AF21-AD0A-4476-A21E-8B492C5E7FB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2787651"/>
              <a:ext cx="1627188" cy="44450"/>
            </a:xfrm>
            <a:prstGeom prst="rect">
              <a:avLst/>
            </a:prstGeom>
            <a:solidFill>
              <a:srgbClr val="4D8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şľïḓe">
              <a:extLst>
                <a:ext uri="{FF2B5EF4-FFF2-40B4-BE49-F238E27FC236}">
                  <a16:creationId xmlns:a16="http://schemas.microsoft.com/office/drawing/2014/main" id="{C9DCD32F-67F5-4106-BCB4-D5B602648EB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2913063"/>
              <a:ext cx="2058988" cy="22225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ŝļíḓê">
              <a:extLst>
                <a:ext uri="{FF2B5EF4-FFF2-40B4-BE49-F238E27FC236}">
                  <a16:creationId xmlns:a16="http://schemas.microsoft.com/office/drawing/2014/main" id="{AF784C74-A9FC-4FCD-B7F9-CD803F0C87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354388"/>
              <a:ext cx="1174750" cy="66675"/>
            </a:xfrm>
            <a:prstGeom prst="rect">
              <a:avLst/>
            </a:pr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ṡḷíḓè">
              <a:extLst>
                <a:ext uri="{FF2B5EF4-FFF2-40B4-BE49-F238E27FC236}">
                  <a16:creationId xmlns:a16="http://schemas.microsoft.com/office/drawing/2014/main" id="{3BDB861B-A885-42C9-8D15-2145582B38A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486151"/>
              <a:ext cx="1398588" cy="42863"/>
            </a:xfrm>
            <a:prstGeom prst="rect">
              <a:avLst/>
            </a:prstGeom>
            <a:solidFill>
              <a:srgbClr val="4D8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íṡļîḑe">
              <a:extLst>
                <a:ext uri="{FF2B5EF4-FFF2-40B4-BE49-F238E27FC236}">
                  <a16:creationId xmlns:a16="http://schemas.microsoft.com/office/drawing/2014/main" id="{E8669892-601E-42A7-94D7-48A7F6D71B5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611563"/>
              <a:ext cx="1857375" cy="22225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ṧḻíḓé">
              <a:extLst>
                <a:ext uri="{FF2B5EF4-FFF2-40B4-BE49-F238E27FC236}">
                  <a16:creationId xmlns:a16="http://schemas.microsoft.com/office/drawing/2014/main" id="{7DAC130D-1BA6-4C01-A85C-DD5AD71D3A5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325938"/>
              <a:ext cx="715963" cy="65088"/>
            </a:xfrm>
            <a:prstGeom prst="rect">
              <a:avLst/>
            </a:pr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iṩ1îḑé">
              <a:extLst>
                <a:ext uri="{FF2B5EF4-FFF2-40B4-BE49-F238E27FC236}">
                  <a16:creationId xmlns:a16="http://schemas.microsoft.com/office/drawing/2014/main" id="{C010107D-5A2A-4742-B8D4-EE6D67C2405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457701"/>
              <a:ext cx="1819275" cy="42863"/>
            </a:xfrm>
            <a:prstGeom prst="rect">
              <a:avLst/>
            </a:prstGeom>
            <a:solidFill>
              <a:srgbClr val="4D85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şļíďe">
              <a:extLst>
                <a:ext uri="{FF2B5EF4-FFF2-40B4-BE49-F238E27FC236}">
                  <a16:creationId xmlns:a16="http://schemas.microsoft.com/office/drawing/2014/main" id="{3E6F3A26-FF8C-4310-8656-73DE645ABF0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457701"/>
              <a:ext cx="1819275" cy="42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ṣḷiḋé">
              <a:extLst>
                <a:ext uri="{FF2B5EF4-FFF2-40B4-BE49-F238E27FC236}">
                  <a16:creationId xmlns:a16="http://schemas.microsoft.com/office/drawing/2014/main" id="{3B315FA5-71F8-423D-9AF5-286EBED47D1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583113"/>
              <a:ext cx="1911350" cy="20638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ś1ïḍè">
              <a:extLst>
                <a:ext uri="{FF2B5EF4-FFF2-40B4-BE49-F238E27FC236}">
                  <a16:creationId xmlns:a16="http://schemas.microsoft.com/office/drawing/2014/main" id="{078AA2B3-DF75-49C3-8BDD-E8E9F49FD66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18063" y="4583113"/>
              <a:ext cx="1911350" cy="20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ślíḓê">
              <a:extLst>
                <a:ext uri="{FF2B5EF4-FFF2-40B4-BE49-F238E27FC236}">
                  <a16:creationId xmlns:a16="http://schemas.microsoft.com/office/drawing/2014/main" id="{C8FBDB9A-F376-4B16-A51C-3EB632FD7E3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9313" y="3703638"/>
              <a:ext cx="1781175" cy="22225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ṧḻïḋè">
              <a:extLst>
                <a:ext uri="{FF2B5EF4-FFF2-40B4-BE49-F238E27FC236}">
                  <a16:creationId xmlns:a16="http://schemas.microsoft.com/office/drawing/2014/main" id="{746F724E-4654-44EF-BA61-8968279EB97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78350" y="3006726"/>
              <a:ext cx="1839913" cy="20638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ŝḷiḑê">
              <a:extLst>
                <a:ext uri="{FF2B5EF4-FFF2-40B4-BE49-F238E27FC236}">
                  <a16:creationId xmlns:a16="http://schemas.microsoft.com/office/drawing/2014/main" id="{9FEF5D28-3EDE-42E3-B583-5949AA4DF26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61175" y="4576763"/>
              <a:ext cx="900113" cy="682625"/>
            </a:xfrm>
            <a:custGeom>
              <a:avLst/>
              <a:gdLst>
                <a:gd name="T0" fmla="*/ 567 w 567"/>
                <a:gd name="T1" fmla="*/ 0 h 430"/>
                <a:gd name="T2" fmla="*/ 454 w 567"/>
                <a:gd name="T3" fmla="*/ 430 h 430"/>
                <a:gd name="T4" fmla="*/ 351 w 567"/>
                <a:gd name="T5" fmla="*/ 430 h 430"/>
                <a:gd name="T6" fmla="*/ 285 w 567"/>
                <a:gd name="T7" fmla="*/ 169 h 430"/>
                <a:gd name="T8" fmla="*/ 216 w 567"/>
                <a:gd name="T9" fmla="*/ 430 h 430"/>
                <a:gd name="T10" fmla="*/ 113 w 567"/>
                <a:gd name="T11" fmla="*/ 430 h 430"/>
                <a:gd name="T12" fmla="*/ 0 w 567"/>
                <a:gd name="T13" fmla="*/ 0 h 430"/>
                <a:gd name="T14" fmla="*/ 99 w 567"/>
                <a:gd name="T15" fmla="*/ 0 h 430"/>
                <a:gd name="T16" fmla="*/ 172 w 567"/>
                <a:gd name="T17" fmla="*/ 275 h 430"/>
                <a:gd name="T18" fmla="*/ 244 w 567"/>
                <a:gd name="T19" fmla="*/ 0 h 430"/>
                <a:gd name="T20" fmla="*/ 333 w 567"/>
                <a:gd name="T21" fmla="*/ 0 h 430"/>
                <a:gd name="T22" fmla="*/ 402 w 567"/>
                <a:gd name="T23" fmla="*/ 275 h 430"/>
                <a:gd name="T24" fmla="*/ 474 w 567"/>
                <a:gd name="T25" fmla="*/ 0 h 430"/>
                <a:gd name="T26" fmla="*/ 567 w 567"/>
                <a:gd name="T2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7" h="430">
                  <a:moveTo>
                    <a:pt x="567" y="0"/>
                  </a:moveTo>
                  <a:lnTo>
                    <a:pt x="454" y="430"/>
                  </a:lnTo>
                  <a:lnTo>
                    <a:pt x="351" y="430"/>
                  </a:lnTo>
                  <a:lnTo>
                    <a:pt x="285" y="169"/>
                  </a:lnTo>
                  <a:lnTo>
                    <a:pt x="216" y="430"/>
                  </a:lnTo>
                  <a:lnTo>
                    <a:pt x="113" y="430"/>
                  </a:lnTo>
                  <a:lnTo>
                    <a:pt x="0" y="0"/>
                  </a:lnTo>
                  <a:lnTo>
                    <a:pt x="99" y="0"/>
                  </a:lnTo>
                  <a:lnTo>
                    <a:pt x="172" y="275"/>
                  </a:lnTo>
                  <a:lnTo>
                    <a:pt x="244" y="0"/>
                  </a:lnTo>
                  <a:lnTo>
                    <a:pt x="333" y="0"/>
                  </a:lnTo>
                  <a:lnTo>
                    <a:pt x="402" y="275"/>
                  </a:lnTo>
                  <a:lnTo>
                    <a:pt x="474" y="0"/>
                  </a:lnTo>
                  <a:lnTo>
                    <a:pt x="567" y="0"/>
                  </a:lnTo>
                  <a:close/>
                </a:path>
              </a:pathLst>
            </a:custGeom>
            <a:solidFill>
              <a:srgbClr val="295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šľíḓe">
              <a:extLst>
                <a:ext uri="{FF2B5EF4-FFF2-40B4-BE49-F238E27FC236}">
                  <a16:creationId xmlns:a16="http://schemas.microsoft.com/office/drawing/2014/main" id="{F5D20722-A872-4B0F-9A2E-F5060344CFB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24325" y="3470276"/>
              <a:ext cx="579438" cy="855663"/>
            </a:xfrm>
            <a:custGeom>
              <a:avLst/>
              <a:gdLst>
                <a:gd name="T0" fmla="*/ 365 w 365"/>
                <a:gd name="T1" fmla="*/ 0 h 539"/>
                <a:gd name="T2" fmla="*/ 110 w 365"/>
                <a:gd name="T3" fmla="*/ 206 h 539"/>
                <a:gd name="T4" fmla="*/ 176 w 365"/>
                <a:gd name="T5" fmla="*/ 247 h 539"/>
                <a:gd name="T6" fmla="*/ 0 w 365"/>
                <a:gd name="T7" fmla="*/ 488 h 539"/>
                <a:gd name="T8" fmla="*/ 76 w 365"/>
                <a:gd name="T9" fmla="*/ 539 h 539"/>
                <a:gd name="T10" fmla="*/ 237 w 365"/>
                <a:gd name="T11" fmla="*/ 285 h 539"/>
                <a:gd name="T12" fmla="*/ 330 w 365"/>
                <a:gd name="T13" fmla="*/ 333 h 539"/>
                <a:gd name="T14" fmla="*/ 365 w 365"/>
                <a:gd name="T15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539">
                  <a:moveTo>
                    <a:pt x="365" y="0"/>
                  </a:moveTo>
                  <a:lnTo>
                    <a:pt x="110" y="206"/>
                  </a:lnTo>
                  <a:lnTo>
                    <a:pt x="176" y="247"/>
                  </a:lnTo>
                  <a:lnTo>
                    <a:pt x="0" y="488"/>
                  </a:lnTo>
                  <a:lnTo>
                    <a:pt x="76" y="539"/>
                  </a:lnTo>
                  <a:lnTo>
                    <a:pt x="237" y="285"/>
                  </a:lnTo>
                  <a:lnTo>
                    <a:pt x="330" y="333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íşļíḋè">
              <a:extLst>
                <a:ext uri="{FF2B5EF4-FFF2-40B4-BE49-F238E27FC236}">
                  <a16:creationId xmlns:a16="http://schemas.microsoft.com/office/drawing/2014/main" id="{A4A79B8E-0F5A-4592-981D-61CD3CE1F1A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30675" y="4708526"/>
              <a:ext cx="479425" cy="479425"/>
            </a:xfrm>
            <a:custGeom>
              <a:avLst/>
              <a:gdLst>
                <a:gd name="T0" fmla="*/ 79 w 88"/>
                <a:gd name="T1" fmla="*/ 50 h 88"/>
                <a:gd name="T2" fmla="*/ 88 w 88"/>
                <a:gd name="T3" fmla="*/ 49 h 88"/>
                <a:gd name="T4" fmla="*/ 86 w 88"/>
                <a:gd name="T5" fmla="*/ 32 h 88"/>
                <a:gd name="T6" fmla="*/ 78 w 88"/>
                <a:gd name="T7" fmla="*/ 32 h 88"/>
                <a:gd name="T8" fmla="*/ 77 w 88"/>
                <a:gd name="T9" fmla="*/ 29 h 88"/>
                <a:gd name="T10" fmla="*/ 82 w 88"/>
                <a:gd name="T11" fmla="*/ 23 h 88"/>
                <a:gd name="T12" fmla="*/ 72 w 88"/>
                <a:gd name="T13" fmla="*/ 10 h 88"/>
                <a:gd name="T14" fmla="*/ 65 w 88"/>
                <a:gd name="T15" fmla="*/ 15 h 88"/>
                <a:gd name="T16" fmla="*/ 62 w 88"/>
                <a:gd name="T17" fmla="*/ 13 h 88"/>
                <a:gd name="T18" fmla="*/ 63 w 88"/>
                <a:gd name="T19" fmla="*/ 4 h 88"/>
                <a:gd name="T20" fmla="*/ 47 w 88"/>
                <a:gd name="T21" fmla="*/ 0 h 88"/>
                <a:gd name="T22" fmla="*/ 44 w 88"/>
                <a:gd name="T23" fmla="*/ 8 h 88"/>
                <a:gd name="T24" fmla="*/ 44 w 88"/>
                <a:gd name="T25" fmla="*/ 8 h 88"/>
                <a:gd name="T26" fmla="*/ 40 w 88"/>
                <a:gd name="T27" fmla="*/ 8 h 88"/>
                <a:gd name="T28" fmla="*/ 36 w 88"/>
                <a:gd name="T29" fmla="*/ 0 h 88"/>
                <a:gd name="T30" fmla="*/ 20 w 88"/>
                <a:gd name="T31" fmla="*/ 6 h 88"/>
                <a:gd name="T32" fmla="*/ 22 w 88"/>
                <a:gd name="T33" fmla="*/ 15 h 88"/>
                <a:gd name="T34" fmla="*/ 19 w 88"/>
                <a:gd name="T35" fmla="*/ 17 h 88"/>
                <a:gd name="T36" fmla="*/ 11 w 88"/>
                <a:gd name="T37" fmla="*/ 14 h 88"/>
                <a:gd name="T38" fmla="*/ 2 w 88"/>
                <a:gd name="T39" fmla="*/ 28 h 88"/>
                <a:gd name="T40" fmla="*/ 9 w 88"/>
                <a:gd name="T41" fmla="*/ 33 h 88"/>
                <a:gd name="T42" fmla="*/ 8 w 88"/>
                <a:gd name="T43" fmla="*/ 37 h 88"/>
                <a:gd name="T44" fmla="*/ 0 w 88"/>
                <a:gd name="T45" fmla="*/ 38 h 88"/>
                <a:gd name="T46" fmla="*/ 1 w 88"/>
                <a:gd name="T47" fmla="*/ 55 h 88"/>
                <a:gd name="T48" fmla="*/ 9 w 88"/>
                <a:gd name="T49" fmla="*/ 55 h 88"/>
                <a:gd name="T50" fmla="*/ 11 w 88"/>
                <a:gd name="T51" fmla="*/ 59 h 88"/>
                <a:gd name="T52" fmla="*/ 5 w 88"/>
                <a:gd name="T53" fmla="*/ 65 h 88"/>
                <a:gd name="T54" fmla="*/ 15 w 88"/>
                <a:gd name="T55" fmla="*/ 78 h 88"/>
                <a:gd name="T56" fmla="*/ 23 w 88"/>
                <a:gd name="T57" fmla="*/ 73 h 88"/>
                <a:gd name="T58" fmla="*/ 26 w 88"/>
                <a:gd name="T59" fmla="*/ 75 h 88"/>
                <a:gd name="T60" fmla="*/ 25 w 88"/>
                <a:gd name="T61" fmla="*/ 84 h 88"/>
                <a:gd name="T62" fmla="*/ 41 w 88"/>
                <a:gd name="T63" fmla="*/ 88 h 88"/>
                <a:gd name="T64" fmla="*/ 44 w 88"/>
                <a:gd name="T65" fmla="*/ 80 h 88"/>
                <a:gd name="T66" fmla="*/ 48 w 88"/>
                <a:gd name="T67" fmla="*/ 80 h 88"/>
                <a:gd name="T68" fmla="*/ 53 w 88"/>
                <a:gd name="T69" fmla="*/ 87 h 88"/>
                <a:gd name="T70" fmla="*/ 68 w 88"/>
                <a:gd name="T71" fmla="*/ 81 h 88"/>
                <a:gd name="T72" fmla="*/ 66 w 88"/>
                <a:gd name="T73" fmla="*/ 72 h 88"/>
                <a:gd name="T74" fmla="*/ 69 w 88"/>
                <a:gd name="T75" fmla="*/ 70 h 88"/>
                <a:gd name="T76" fmla="*/ 77 w 88"/>
                <a:gd name="T77" fmla="*/ 73 h 88"/>
                <a:gd name="T78" fmla="*/ 85 w 88"/>
                <a:gd name="T79" fmla="*/ 59 h 88"/>
                <a:gd name="T80" fmla="*/ 78 w 88"/>
                <a:gd name="T81" fmla="*/ 54 h 88"/>
                <a:gd name="T82" fmla="*/ 79 w 88"/>
                <a:gd name="T83" fmla="*/ 50 h 88"/>
                <a:gd name="T84" fmla="*/ 44 w 88"/>
                <a:gd name="T85" fmla="*/ 52 h 88"/>
                <a:gd name="T86" fmla="*/ 35 w 88"/>
                <a:gd name="T87" fmla="*/ 44 h 88"/>
                <a:gd name="T88" fmla="*/ 44 w 88"/>
                <a:gd name="T89" fmla="*/ 36 h 88"/>
                <a:gd name="T90" fmla="*/ 52 w 88"/>
                <a:gd name="T91" fmla="*/ 44 h 88"/>
                <a:gd name="T92" fmla="*/ 44 w 88"/>
                <a:gd name="T93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8" h="88">
                  <a:moveTo>
                    <a:pt x="79" y="50"/>
                  </a:moveTo>
                  <a:cubicBezTo>
                    <a:pt x="88" y="49"/>
                    <a:pt x="88" y="49"/>
                    <a:pt x="88" y="49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77" y="31"/>
                    <a:pt x="77" y="30"/>
                    <a:pt x="77" y="29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4" y="14"/>
                    <a:pt x="63" y="13"/>
                    <a:pt x="62" y="13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2" y="8"/>
                    <a:pt x="41" y="8"/>
                    <a:pt x="40" y="8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6"/>
                    <a:pt x="20" y="16"/>
                    <a:pt x="19" y="17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4"/>
                    <a:pt x="8" y="35"/>
                    <a:pt x="8" y="3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10" y="57"/>
                    <a:pt x="10" y="58"/>
                    <a:pt x="11" y="59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4" y="74"/>
                    <a:pt x="25" y="75"/>
                    <a:pt x="26" y="75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5" y="80"/>
                    <a:pt x="47" y="80"/>
                    <a:pt x="48" y="80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7" y="72"/>
                    <a:pt x="68" y="71"/>
                    <a:pt x="69" y="70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9" y="53"/>
                    <a:pt x="79" y="52"/>
                    <a:pt x="79" y="50"/>
                  </a:cubicBezTo>
                  <a:close/>
                  <a:moveTo>
                    <a:pt x="44" y="52"/>
                  </a:moveTo>
                  <a:cubicBezTo>
                    <a:pt x="39" y="52"/>
                    <a:pt x="35" y="48"/>
                    <a:pt x="35" y="44"/>
                  </a:cubicBezTo>
                  <a:cubicBezTo>
                    <a:pt x="35" y="39"/>
                    <a:pt x="39" y="36"/>
                    <a:pt x="44" y="36"/>
                  </a:cubicBezTo>
                  <a:cubicBezTo>
                    <a:pt x="48" y="36"/>
                    <a:pt x="52" y="39"/>
                    <a:pt x="52" y="44"/>
                  </a:cubicBezTo>
                  <a:cubicBezTo>
                    <a:pt x="52" y="48"/>
                    <a:pt x="48" y="52"/>
                    <a:pt x="44" y="52"/>
                  </a:cubicBezTo>
                  <a:close/>
                </a:path>
              </a:pathLst>
            </a:custGeom>
            <a:solidFill>
              <a:srgbClr val="EFC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s1îdè">
              <a:extLst>
                <a:ext uri="{FF2B5EF4-FFF2-40B4-BE49-F238E27FC236}">
                  <a16:creationId xmlns:a16="http://schemas.microsoft.com/office/drawing/2014/main" id="{F54F2F56-C5C2-4FD4-A67A-B68C1B14F95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730625" y="3786188"/>
              <a:ext cx="1201738" cy="665163"/>
            </a:xfrm>
            <a:custGeom>
              <a:avLst/>
              <a:gdLst>
                <a:gd name="T0" fmla="*/ 113 w 220"/>
                <a:gd name="T1" fmla="*/ 114 h 122"/>
                <a:gd name="T2" fmla="*/ 21 w 220"/>
                <a:gd name="T3" fmla="*/ 91 h 122"/>
                <a:gd name="T4" fmla="*/ 1 w 220"/>
                <a:gd name="T5" fmla="*/ 52 h 122"/>
                <a:gd name="T6" fmla="*/ 17 w 220"/>
                <a:gd name="T7" fmla="*/ 21 h 122"/>
                <a:gd name="T8" fmla="*/ 92 w 220"/>
                <a:gd name="T9" fmla="*/ 8 h 122"/>
                <a:gd name="T10" fmla="*/ 92 w 220"/>
                <a:gd name="T11" fmla="*/ 12 h 122"/>
                <a:gd name="T12" fmla="*/ 19 w 220"/>
                <a:gd name="T13" fmla="*/ 24 h 122"/>
                <a:gd name="T14" fmla="*/ 5 w 220"/>
                <a:gd name="T15" fmla="*/ 53 h 122"/>
                <a:gd name="T16" fmla="*/ 23 w 220"/>
                <a:gd name="T17" fmla="*/ 88 h 122"/>
                <a:gd name="T18" fmla="*/ 219 w 220"/>
                <a:gd name="T19" fmla="*/ 92 h 122"/>
                <a:gd name="T20" fmla="*/ 220 w 220"/>
                <a:gd name="T21" fmla="*/ 96 h 122"/>
                <a:gd name="T22" fmla="*/ 113 w 220"/>
                <a:gd name="T23" fmla="*/ 11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0" h="122">
                  <a:moveTo>
                    <a:pt x="113" y="114"/>
                  </a:moveTo>
                  <a:cubicBezTo>
                    <a:pt x="75" y="114"/>
                    <a:pt x="42" y="106"/>
                    <a:pt x="21" y="91"/>
                  </a:cubicBezTo>
                  <a:cubicBezTo>
                    <a:pt x="7" y="80"/>
                    <a:pt x="0" y="67"/>
                    <a:pt x="1" y="52"/>
                  </a:cubicBezTo>
                  <a:cubicBezTo>
                    <a:pt x="2" y="39"/>
                    <a:pt x="7" y="28"/>
                    <a:pt x="17" y="21"/>
                  </a:cubicBezTo>
                  <a:cubicBezTo>
                    <a:pt x="43" y="0"/>
                    <a:pt x="90" y="7"/>
                    <a:pt x="92" y="8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91" y="12"/>
                    <a:pt x="44" y="4"/>
                    <a:pt x="19" y="24"/>
                  </a:cubicBezTo>
                  <a:cubicBezTo>
                    <a:pt x="11" y="31"/>
                    <a:pt x="6" y="40"/>
                    <a:pt x="5" y="53"/>
                  </a:cubicBezTo>
                  <a:cubicBezTo>
                    <a:pt x="4" y="66"/>
                    <a:pt x="11" y="78"/>
                    <a:pt x="23" y="88"/>
                  </a:cubicBezTo>
                  <a:cubicBezTo>
                    <a:pt x="56" y="112"/>
                    <a:pt x="134" y="122"/>
                    <a:pt x="219" y="92"/>
                  </a:cubicBezTo>
                  <a:cubicBezTo>
                    <a:pt x="220" y="96"/>
                    <a:pt x="220" y="96"/>
                    <a:pt x="220" y="96"/>
                  </a:cubicBezTo>
                  <a:cubicBezTo>
                    <a:pt x="184" y="108"/>
                    <a:pt x="147" y="114"/>
                    <a:pt x="113" y="114"/>
                  </a:cubicBezTo>
                  <a:close/>
                </a:path>
              </a:pathLst>
            </a:cu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ṡ1îde">
              <a:extLst>
                <a:ext uri="{FF2B5EF4-FFF2-40B4-BE49-F238E27FC236}">
                  <a16:creationId xmlns:a16="http://schemas.microsoft.com/office/drawing/2014/main" id="{9C5B0964-740D-446A-B893-E0FE0D3C738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84725" y="4271963"/>
              <a:ext cx="203200" cy="130175"/>
            </a:xfrm>
            <a:custGeom>
              <a:avLst/>
              <a:gdLst>
                <a:gd name="T0" fmla="*/ 28 w 128"/>
                <a:gd name="T1" fmla="*/ 82 h 82"/>
                <a:gd name="T2" fmla="*/ 21 w 128"/>
                <a:gd name="T3" fmla="*/ 72 h 82"/>
                <a:gd name="T4" fmla="*/ 90 w 128"/>
                <a:gd name="T5" fmla="*/ 17 h 82"/>
                <a:gd name="T6" fmla="*/ 0 w 128"/>
                <a:gd name="T7" fmla="*/ 14 h 82"/>
                <a:gd name="T8" fmla="*/ 0 w 128"/>
                <a:gd name="T9" fmla="*/ 0 h 82"/>
                <a:gd name="T10" fmla="*/ 128 w 128"/>
                <a:gd name="T11" fmla="*/ 3 h 82"/>
                <a:gd name="T12" fmla="*/ 28 w 128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82">
                  <a:moveTo>
                    <a:pt x="28" y="82"/>
                  </a:moveTo>
                  <a:lnTo>
                    <a:pt x="21" y="72"/>
                  </a:lnTo>
                  <a:lnTo>
                    <a:pt x="90" y="17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28" y="3"/>
                  </a:lnTo>
                  <a:lnTo>
                    <a:pt x="28" y="82"/>
                  </a:lnTo>
                  <a:close/>
                </a:path>
              </a:pathLst>
            </a:custGeom>
            <a:solidFill>
              <a:srgbClr val="E3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šlíḍé">
              <a:extLst>
                <a:ext uri="{FF2B5EF4-FFF2-40B4-BE49-F238E27FC236}">
                  <a16:creationId xmlns:a16="http://schemas.microsoft.com/office/drawing/2014/main" id="{8D9CC038-242E-475A-A932-E383C31719B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69125" y="3421063"/>
              <a:ext cx="1082675" cy="1308100"/>
            </a:xfrm>
            <a:custGeom>
              <a:avLst/>
              <a:gdLst>
                <a:gd name="T0" fmla="*/ 63 w 198"/>
                <a:gd name="T1" fmla="*/ 240 h 240"/>
                <a:gd name="T2" fmla="*/ 70 w 198"/>
                <a:gd name="T3" fmla="*/ 236 h 240"/>
                <a:gd name="T4" fmla="*/ 82 w 198"/>
                <a:gd name="T5" fmla="*/ 240 h 240"/>
                <a:gd name="T6" fmla="*/ 94 w 198"/>
                <a:gd name="T7" fmla="*/ 235 h 240"/>
                <a:gd name="T8" fmla="*/ 82 w 198"/>
                <a:gd name="T9" fmla="*/ 240 h 240"/>
                <a:gd name="T10" fmla="*/ 106 w 198"/>
                <a:gd name="T11" fmla="*/ 233 h 240"/>
                <a:gd name="T12" fmla="*/ 118 w 198"/>
                <a:gd name="T13" fmla="*/ 233 h 240"/>
                <a:gd name="T14" fmla="*/ 130 w 198"/>
                <a:gd name="T15" fmla="*/ 230 h 240"/>
                <a:gd name="T16" fmla="*/ 139 w 198"/>
                <a:gd name="T17" fmla="*/ 221 h 240"/>
                <a:gd name="T18" fmla="*/ 130 w 198"/>
                <a:gd name="T19" fmla="*/ 230 h 240"/>
                <a:gd name="T20" fmla="*/ 149 w 198"/>
                <a:gd name="T21" fmla="*/ 215 h 240"/>
                <a:gd name="T22" fmla="*/ 161 w 198"/>
                <a:gd name="T23" fmla="*/ 211 h 240"/>
                <a:gd name="T24" fmla="*/ 170 w 198"/>
                <a:gd name="T25" fmla="*/ 202 h 240"/>
                <a:gd name="T26" fmla="*/ 174 w 198"/>
                <a:gd name="T27" fmla="*/ 191 h 240"/>
                <a:gd name="T28" fmla="*/ 170 w 198"/>
                <a:gd name="T29" fmla="*/ 202 h 240"/>
                <a:gd name="T30" fmla="*/ 180 w 198"/>
                <a:gd name="T31" fmla="*/ 181 h 240"/>
                <a:gd name="T32" fmla="*/ 189 w 198"/>
                <a:gd name="T33" fmla="*/ 171 h 240"/>
                <a:gd name="T34" fmla="*/ 193 w 198"/>
                <a:gd name="T35" fmla="*/ 160 h 240"/>
                <a:gd name="T36" fmla="*/ 192 w 198"/>
                <a:gd name="T37" fmla="*/ 147 h 240"/>
                <a:gd name="T38" fmla="*/ 193 w 198"/>
                <a:gd name="T39" fmla="*/ 160 h 240"/>
                <a:gd name="T40" fmla="*/ 194 w 198"/>
                <a:gd name="T41" fmla="*/ 136 h 240"/>
                <a:gd name="T42" fmla="*/ 198 w 198"/>
                <a:gd name="T43" fmla="*/ 124 h 240"/>
                <a:gd name="T44" fmla="*/ 194 w 198"/>
                <a:gd name="T45" fmla="*/ 112 h 240"/>
                <a:gd name="T46" fmla="*/ 197 w 198"/>
                <a:gd name="T47" fmla="*/ 100 h 240"/>
                <a:gd name="T48" fmla="*/ 194 w 198"/>
                <a:gd name="T49" fmla="*/ 112 h 240"/>
                <a:gd name="T50" fmla="*/ 187 w 198"/>
                <a:gd name="T51" fmla="*/ 78 h 240"/>
                <a:gd name="T52" fmla="*/ 195 w 198"/>
                <a:gd name="T53" fmla="*/ 88 h 240"/>
                <a:gd name="T54" fmla="*/ 182 w 198"/>
                <a:gd name="T55" fmla="*/ 67 h 240"/>
                <a:gd name="T56" fmla="*/ 179 w 198"/>
                <a:gd name="T57" fmla="*/ 55 h 240"/>
                <a:gd name="T58" fmla="*/ 182 w 198"/>
                <a:gd name="T59" fmla="*/ 67 h 240"/>
                <a:gd name="T60" fmla="*/ 160 w 198"/>
                <a:gd name="T61" fmla="*/ 40 h 240"/>
                <a:gd name="T62" fmla="*/ 171 w 198"/>
                <a:gd name="T63" fmla="*/ 45 h 240"/>
                <a:gd name="T64" fmla="*/ 150 w 198"/>
                <a:gd name="T65" fmla="*/ 33 h 240"/>
                <a:gd name="T66" fmla="*/ 142 w 198"/>
                <a:gd name="T67" fmla="*/ 24 h 240"/>
                <a:gd name="T68" fmla="*/ 150 w 198"/>
                <a:gd name="T69" fmla="*/ 33 h 240"/>
                <a:gd name="T70" fmla="*/ 118 w 198"/>
                <a:gd name="T71" fmla="*/ 18 h 240"/>
                <a:gd name="T72" fmla="*/ 131 w 198"/>
                <a:gd name="T73" fmla="*/ 19 h 240"/>
                <a:gd name="T74" fmla="*/ 107 w 198"/>
                <a:gd name="T75" fmla="*/ 14 h 240"/>
                <a:gd name="T76" fmla="*/ 96 w 198"/>
                <a:gd name="T77" fmla="*/ 7 h 240"/>
                <a:gd name="T78" fmla="*/ 107 w 198"/>
                <a:gd name="T79" fmla="*/ 14 h 240"/>
                <a:gd name="T80" fmla="*/ 72 w 198"/>
                <a:gd name="T81" fmla="*/ 7 h 240"/>
                <a:gd name="T82" fmla="*/ 85 w 198"/>
                <a:gd name="T83" fmla="*/ 5 h 240"/>
                <a:gd name="T84" fmla="*/ 60 w 198"/>
                <a:gd name="T85" fmla="*/ 5 h 240"/>
                <a:gd name="T86" fmla="*/ 49 w 198"/>
                <a:gd name="T87" fmla="*/ 1 h 240"/>
                <a:gd name="T88" fmla="*/ 60 w 198"/>
                <a:gd name="T89" fmla="*/ 5 h 240"/>
                <a:gd name="T90" fmla="*/ 0 w 198"/>
                <a:gd name="T91" fmla="*/ 1 h 240"/>
                <a:gd name="T92" fmla="*/ 12 w 198"/>
                <a:gd name="T93" fmla="*/ 4 h 240"/>
                <a:gd name="T94" fmla="*/ 36 w 198"/>
                <a:gd name="T95" fmla="*/ 4 h 240"/>
                <a:gd name="T96" fmla="*/ 24 w 198"/>
                <a:gd name="T97" fmla="*/ 4 h 240"/>
                <a:gd name="T98" fmla="*/ 25 w 198"/>
                <a:gd name="T99" fmla="*/ 0 h 240"/>
                <a:gd name="T100" fmla="*/ 36 w 198"/>
                <a:gd name="T101" fmla="*/ 4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240">
                  <a:moveTo>
                    <a:pt x="70" y="240"/>
                  </a:moveTo>
                  <a:cubicBezTo>
                    <a:pt x="67" y="240"/>
                    <a:pt x="65" y="240"/>
                    <a:pt x="63" y="240"/>
                  </a:cubicBezTo>
                  <a:cubicBezTo>
                    <a:pt x="63" y="236"/>
                    <a:pt x="63" y="236"/>
                    <a:pt x="63" y="236"/>
                  </a:cubicBezTo>
                  <a:cubicBezTo>
                    <a:pt x="65" y="236"/>
                    <a:pt x="68" y="236"/>
                    <a:pt x="70" y="236"/>
                  </a:cubicBezTo>
                  <a:cubicBezTo>
                    <a:pt x="70" y="240"/>
                    <a:pt x="70" y="240"/>
                    <a:pt x="70" y="240"/>
                  </a:cubicBezTo>
                  <a:close/>
                  <a:moveTo>
                    <a:pt x="82" y="240"/>
                  </a:moveTo>
                  <a:cubicBezTo>
                    <a:pt x="82" y="236"/>
                    <a:pt x="82" y="236"/>
                    <a:pt x="82" y="236"/>
                  </a:cubicBezTo>
                  <a:cubicBezTo>
                    <a:pt x="86" y="235"/>
                    <a:pt x="90" y="235"/>
                    <a:pt x="94" y="235"/>
                  </a:cubicBezTo>
                  <a:cubicBezTo>
                    <a:pt x="94" y="239"/>
                    <a:pt x="94" y="239"/>
                    <a:pt x="94" y="239"/>
                  </a:cubicBezTo>
                  <a:cubicBezTo>
                    <a:pt x="91" y="239"/>
                    <a:pt x="86" y="239"/>
                    <a:pt x="82" y="240"/>
                  </a:cubicBezTo>
                  <a:close/>
                  <a:moveTo>
                    <a:pt x="106" y="236"/>
                  </a:moveTo>
                  <a:cubicBezTo>
                    <a:pt x="106" y="233"/>
                    <a:pt x="106" y="233"/>
                    <a:pt x="106" y="233"/>
                  </a:cubicBezTo>
                  <a:cubicBezTo>
                    <a:pt x="110" y="232"/>
                    <a:pt x="113" y="231"/>
                    <a:pt x="117" y="230"/>
                  </a:cubicBezTo>
                  <a:cubicBezTo>
                    <a:pt x="118" y="233"/>
                    <a:pt x="118" y="233"/>
                    <a:pt x="118" y="233"/>
                  </a:cubicBezTo>
                  <a:cubicBezTo>
                    <a:pt x="114" y="235"/>
                    <a:pt x="110" y="236"/>
                    <a:pt x="106" y="236"/>
                  </a:cubicBezTo>
                  <a:close/>
                  <a:moveTo>
                    <a:pt x="130" y="230"/>
                  </a:moveTo>
                  <a:cubicBezTo>
                    <a:pt x="128" y="226"/>
                    <a:pt x="128" y="226"/>
                    <a:pt x="128" y="226"/>
                  </a:cubicBezTo>
                  <a:cubicBezTo>
                    <a:pt x="132" y="224"/>
                    <a:pt x="136" y="223"/>
                    <a:pt x="139" y="221"/>
                  </a:cubicBezTo>
                  <a:cubicBezTo>
                    <a:pt x="141" y="225"/>
                    <a:pt x="141" y="225"/>
                    <a:pt x="141" y="225"/>
                  </a:cubicBezTo>
                  <a:cubicBezTo>
                    <a:pt x="137" y="226"/>
                    <a:pt x="134" y="228"/>
                    <a:pt x="130" y="230"/>
                  </a:cubicBezTo>
                  <a:close/>
                  <a:moveTo>
                    <a:pt x="151" y="218"/>
                  </a:moveTo>
                  <a:cubicBezTo>
                    <a:pt x="149" y="215"/>
                    <a:pt x="149" y="215"/>
                    <a:pt x="149" y="215"/>
                  </a:cubicBezTo>
                  <a:cubicBezTo>
                    <a:pt x="152" y="213"/>
                    <a:pt x="156" y="210"/>
                    <a:pt x="159" y="208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58" y="214"/>
                    <a:pt x="155" y="216"/>
                    <a:pt x="151" y="218"/>
                  </a:cubicBezTo>
                  <a:close/>
                  <a:moveTo>
                    <a:pt x="170" y="202"/>
                  </a:moveTo>
                  <a:cubicBezTo>
                    <a:pt x="167" y="200"/>
                    <a:pt x="167" y="200"/>
                    <a:pt x="167" y="200"/>
                  </a:cubicBezTo>
                  <a:cubicBezTo>
                    <a:pt x="170" y="197"/>
                    <a:pt x="172" y="194"/>
                    <a:pt x="174" y="19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5" y="196"/>
                    <a:pt x="173" y="199"/>
                    <a:pt x="170" y="202"/>
                  </a:cubicBezTo>
                  <a:close/>
                  <a:moveTo>
                    <a:pt x="184" y="182"/>
                  </a:moveTo>
                  <a:cubicBezTo>
                    <a:pt x="180" y="181"/>
                    <a:pt x="180" y="181"/>
                    <a:pt x="180" y="181"/>
                  </a:cubicBezTo>
                  <a:cubicBezTo>
                    <a:pt x="182" y="177"/>
                    <a:pt x="184" y="174"/>
                    <a:pt x="185" y="170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88" y="175"/>
                    <a:pt x="186" y="179"/>
                    <a:pt x="184" y="182"/>
                  </a:cubicBezTo>
                  <a:close/>
                  <a:moveTo>
                    <a:pt x="193" y="160"/>
                  </a:moveTo>
                  <a:cubicBezTo>
                    <a:pt x="189" y="159"/>
                    <a:pt x="189" y="159"/>
                    <a:pt x="189" y="159"/>
                  </a:cubicBezTo>
                  <a:cubicBezTo>
                    <a:pt x="190" y="155"/>
                    <a:pt x="191" y="151"/>
                    <a:pt x="192" y="147"/>
                  </a:cubicBezTo>
                  <a:cubicBezTo>
                    <a:pt x="196" y="148"/>
                    <a:pt x="196" y="148"/>
                    <a:pt x="196" y="148"/>
                  </a:cubicBezTo>
                  <a:cubicBezTo>
                    <a:pt x="195" y="152"/>
                    <a:pt x="194" y="156"/>
                    <a:pt x="193" y="160"/>
                  </a:cubicBezTo>
                  <a:close/>
                  <a:moveTo>
                    <a:pt x="197" y="136"/>
                  </a:moveTo>
                  <a:cubicBezTo>
                    <a:pt x="194" y="136"/>
                    <a:pt x="194" y="136"/>
                    <a:pt x="194" y="136"/>
                  </a:cubicBezTo>
                  <a:cubicBezTo>
                    <a:pt x="194" y="132"/>
                    <a:pt x="194" y="128"/>
                    <a:pt x="194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8"/>
                    <a:pt x="198" y="132"/>
                    <a:pt x="197" y="136"/>
                  </a:cubicBezTo>
                  <a:close/>
                  <a:moveTo>
                    <a:pt x="194" y="112"/>
                  </a:moveTo>
                  <a:cubicBezTo>
                    <a:pt x="194" y="108"/>
                    <a:pt x="194" y="104"/>
                    <a:pt x="193" y="100"/>
                  </a:cubicBezTo>
                  <a:cubicBezTo>
                    <a:pt x="197" y="100"/>
                    <a:pt x="197" y="100"/>
                    <a:pt x="197" y="100"/>
                  </a:cubicBezTo>
                  <a:cubicBezTo>
                    <a:pt x="198" y="104"/>
                    <a:pt x="198" y="108"/>
                    <a:pt x="198" y="112"/>
                  </a:cubicBezTo>
                  <a:lnTo>
                    <a:pt x="194" y="112"/>
                  </a:lnTo>
                  <a:close/>
                  <a:moveTo>
                    <a:pt x="191" y="89"/>
                  </a:moveTo>
                  <a:cubicBezTo>
                    <a:pt x="190" y="85"/>
                    <a:pt x="189" y="81"/>
                    <a:pt x="187" y="78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3" y="80"/>
                    <a:pt x="194" y="84"/>
                    <a:pt x="195" y="88"/>
                  </a:cubicBezTo>
                  <a:lnTo>
                    <a:pt x="191" y="89"/>
                  </a:lnTo>
                  <a:close/>
                  <a:moveTo>
                    <a:pt x="182" y="67"/>
                  </a:moveTo>
                  <a:cubicBezTo>
                    <a:pt x="180" y="64"/>
                    <a:pt x="178" y="60"/>
                    <a:pt x="176" y="57"/>
                  </a:cubicBezTo>
                  <a:cubicBezTo>
                    <a:pt x="179" y="55"/>
                    <a:pt x="179" y="55"/>
                    <a:pt x="179" y="55"/>
                  </a:cubicBezTo>
                  <a:cubicBezTo>
                    <a:pt x="182" y="58"/>
                    <a:pt x="184" y="62"/>
                    <a:pt x="186" y="65"/>
                  </a:cubicBezTo>
                  <a:lnTo>
                    <a:pt x="182" y="67"/>
                  </a:lnTo>
                  <a:close/>
                  <a:moveTo>
                    <a:pt x="168" y="48"/>
                  </a:moveTo>
                  <a:cubicBezTo>
                    <a:pt x="166" y="46"/>
                    <a:pt x="163" y="43"/>
                    <a:pt x="160" y="40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5" y="40"/>
                    <a:pt x="169" y="43"/>
                    <a:pt x="171" y="45"/>
                  </a:cubicBezTo>
                  <a:lnTo>
                    <a:pt x="168" y="48"/>
                  </a:lnTo>
                  <a:close/>
                  <a:moveTo>
                    <a:pt x="150" y="33"/>
                  </a:moveTo>
                  <a:cubicBezTo>
                    <a:pt x="147" y="31"/>
                    <a:pt x="144" y="29"/>
                    <a:pt x="140" y="27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6" y="26"/>
                    <a:pt x="149" y="28"/>
                    <a:pt x="152" y="30"/>
                  </a:cubicBezTo>
                  <a:lnTo>
                    <a:pt x="150" y="33"/>
                  </a:lnTo>
                  <a:close/>
                  <a:moveTo>
                    <a:pt x="129" y="22"/>
                  </a:moveTo>
                  <a:cubicBezTo>
                    <a:pt x="126" y="21"/>
                    <a:pt x="122" y="19"/>
                    <a:pt x="118" y="18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4" y="15"/>
                    <a:pt x="127" y="17"/>
                    <a:pt x="131" y="19"/>
                  </a:cubicBezTo>
                  <a:lnTo>
                    <a:pt x="129" y="22"/>
                  </a:lnTo>
                  <a:close/>
                  <a:moveTo>
                    <a:pt x="107" y="14"/>
                  </a:moveTo>
                  <a:cubicBezTo>
                    <a:pt x="103" y="13"/>
                    <a:pt x="99" y="12"/>
                    <a:pt x="96" y="11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100" y="8"/>
                    <a:pt x="104" y="9"/>
                    <a:pt x="108" y="10"/>
                  </a:cubicBezTo>
                  <a:lnTo>
                    <a:pt x="107" y="14"/>
                  </a:lnTo>
                  <a:close/>
                  <a:moveTo>
                    <a:pt x="84" y="9"/>
                  </a:moveTo>
                  <a:cubicBezTo>
                    <a:pt x="80" y="8"/>
                    <a:pt x="76" y="7"/>
                    <a:pt x="72" y="7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7" y="3"/>
                    <a:pt x="81" y="4"/>
                    <a:pt x="85" y="5"/>
                  </a:cubicBezTo>
                  <a:lnTo>
                    <a:pt x="84" y="9"/>
                  </a:lnTo>
                  <a:close/>
                  <a:moveTo>
                    <a:pt x="60" y="5"/>
                  </a:moveTo>
                  <a:cubicBezTo>
                    <a:pt x="56" y="5"/>
                    <a:pt x="52" y="5"/>
                    <a:pt x="48" y="5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2" y="1"/>
                    <a:pt x="56" y="1"/>
                    <a:pt x="61" y="2"/>
                  </a:cubicBezTo>
                  <a:lnTo>
                    <a:pt x="60" y="5"/>
                  </a:lnTo>
                  <a:close/>
                  <a:moveTo>
                    <a:pt x="1" y="5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5" y="0"/>
                    <a:pt x="12" y="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5" y="4"/>
                    <a:pt x="1" y="5"/>
                    <a:pt x="1" y="5"/>
                  </a:cubicBezTo>
                  <a:close/>
                  <a:moveTo>
                    <a:pt x="36" y="4"/>
                  </a:moveTo>
                  <a:cubicBezTo>
                    <a:pt x="32" y="4"/>
                    <a:pt x="29" y="4"/>
                    <a:pt x="25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2" y="0"/>
                    <a:pt x="36" y="0"/>
                  </a:cubicBezTo>
                  <a:lnTo>
                    <a:pt x="36" y="4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Sḷídé">
              <a:extLst>
                <a:ext uri="{FF2B5EF4-FFF2-40B4-BE49-F238E27FC236}">
                  <a16:creationId xmlns:a16="http://schemas.microsoft.com/office/drawing/2014/main" id="{E571A66F-7F2A-4EA5-994D-74099815147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64400" y="4648201"/>
              <a:ext cx="142875" cy="147638"/>
            </a:xfrm>
            <a:custGeom>
              <a:avLst/>
              <a:gdLst>
                <a:gd name="T0" fmla="*/ 90 w 90"/>
                <a:gd name="T1" fmla="*/ 0 h 93"/>
                <a:gd name="T2" fmla="*/ 38 w 90"/>
                <a:gd name="T3" fmla="*/ 45 h 93"/>
                <a:gd name="T4" fmla="*/ 83 w 90"/>
                <a:gd name="T5" fmla="*/ 93 h 93"/>
                <a:gd name="T6" fmla="*/ 45 w 90"/>
                <a:gd name="T7" fmla="*/ 93 h 93"/>
                <a:gd name="T8" fmla="*/ 0 w 90"/>
                <a:gd name="T9" fmla="*/ 41 h 93"/>
                <a:gd name="T10" fmla="*/ 48 w 90"/>
                <a:gd name="T11" fmla="*/ 0 h 93"/>
                <a:gd name="T12" fmla="*/ 90 w 90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3">
                  <a:moveTo>
                    <a:pt x="90" y="0"/>
                  </a:moveTo>
                  <a:lnTo>
                    <a:pt x="38" y="45"/>
                  </a:lnTo>
                  <a:lnTo>
                    <a:pt x="83" y="93"/>
                  </a:lnTo>
                  <a:lnTo>
                    <a:pt x="45" y="93"/>
                  </a:lnTo>
                  <a:lnTo>
                    <a:pt x="0" y="41"/>
                  </a:lnTo>
                  <a:lnTo>
                    <a:pt x="48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$ļídê">
              <a:extLst>
                <a:ext uri="{FF2B5EF4-FFF2-40B4-BE49-F238E27FC236}">
                  <a16:creationId xmlns:a16="http://schemas.microsoft.com/office/drawing/2014/main" id="{E0078F6F-6095-4281-829B-208AB90AFF9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88163" y="2657476"/>
              <a:ext cx="557213" cy="566738"/>
            </a:xfrm>
            <a:custGeom>
              <a:avLst/>
              <a:gdLst>
                <a:gd name="T0" fmla="*/ 102 w 102"/>
                <a:gd name="T1" fmla="*/ 44 h 104"/>
                <a:gd name="T2" fmla="*/ 79 w 102"/>
                <a:gd name="T3" fmla="*/ 79 h 104"/>
                <a:gd name="T4" fmla="*/ 64 w 102"/>
                <a:gd name="T5" fmla="*/ 67 h 104"/>
                <a:gd name="T6" fmla="*/ 48 w 102"/>
                <a:gd name="T7" fmla="*/ 79 h 104"/>
                <a:gd name="T8" fmla="*/ 27 w 102"/>
                <a:gd name="T9" fmla="*/ 53 h 104"/>
                <a:gd name="T10" fmla="*/ 53 w 102"/>
                <a:gd name="T11" fmla="*/ 23 h 104"/>
                <a:gd name="T12" fmla="*/ 72 w 102"/>
                <a:gd name="T13" fmla="*/ 28 h 104"/>
                <a:gd name="T14" fmla="*/ 72 w 102"/>
                <a:gd name="T15" fmla="*/ 57 h 104"/>
                <a:gd name="T16" fmla="*/ 78 w 102"/>
                <a:gd name="T17" fmla="*/ 69 h 104"/>
                <a:gd name="T18" fmla="*/ 89 w 102"/>
                <a:gd name="T19" fmla="*/ 45 h 104"/>
                <a:gd name="T20" fmla="*/ 53 w 102"/>
                <a:gd name="T21" fmla="*/ 11 h 104"/>
                <a:gd name="T22" fmla="*/ 14 w 102"/>
                <a:gd name="T23" fmla="*/ 52 h 104"/>
                <a:gd name="T24" fmla="*/ 53 w 102"/>
                <a:gd name="T25" fmla="*/ 93 h 104"/>
                <a:gd name="T26" fmla="*/ 75 w 102"/>
                <a:gd name="T27" fmla="*/ 89 h 104"/>
                <a:gd name="T28" fmla="*/ 79 w 102"/>
                <a:gd name="T29" fmla="*/ 100 h 104"/>
                <a:gd name="T30" fmla="*/ 53 w 102"/>
                <a:gd name="T31" fmla="*/ 104 h 104"/>
                <a:gd name="T32" fmla="*/ 0 w 102"/>
                <a:gd name="T33" fmla="*/ 52 h 104"/>
                <a:gd name="T34" fmla="*/ 53 w 102"/>
                <a:gd name="T35" fmla="*/ 0 h 104"/>
                <a:gd name="T36" fmla="*/ 102 w 102"/>
                <a:gd name="T37" fmla="*/ 44 h 104"/>
                <a:gd name="T38" fmla="*/ 59 w 102"/>
                <a:gd name="T39" fmla="*/ 61 h 104"/>
                <a:gd name="T40" fmla="*/ 59 w 102"/>
                <a:gd name="T41" fmla="*/ 34 h 104"/>
                <a:gd name="T42" fmla="*/ 53 w 102"/>
                <a:gd name="T43" fmla="*/ 33 h 104"/>
                <a:gd name="T44" fmla="*/ 41 w 102"/>
                <a:gd name="T45" fmla="*/ 53 h 104"/>
                <a:gd name="T46" fmla="*/ 49 w 102"/>
                <a:gd name="T47" fmla="*/ 69 h 104"/>
                <a:gd name="T48" fmla="*/ 59 w 102"/>
                <a:gd name="T49" fmla="*/ 6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04">
                  <a:moveTo>
                    <a:pt x="102" y="44"/>
                  </a:moveTo>
                  <a:cubicBezTo>
                    <a:pt x="102" y="64"/>
                    <a:pt x="94" y="79"/>
                    <a:pt x="79" y="79"/>
                  </a:cubicBezTo>
                  <a:cubicBezTo>
                    <a:pt x="69" y="79"/>
                    <a:pt x="65" y="73"/>
                    <a:pt x="64" y="67"/>
                  </a:cubicBezTo>
                  <a:cubicBezTo>
                    <a:pt x="61" y="73"/>
                    <a:pt x="56" y="79"/>
                    <a:pt x="48" y="79"/>
                  </a:cubicBezTo>
                  <a:cubicBezTo>
                    <a:pt x="34" y="79"/>
                    <a:pt x="27" y="68"/>
                    <a:pt x="27" y="53"/>
                  </a:cubicBezTo>
                  <a:cubicBezTo>
                    <a:pt x="27" y="34"/>
                    <a:pt x="37" y="23"/>
                    <a:pt x="53" y="23"/>
                  </a:cubicBezTo>
                  <a:cubicBezTo>
                    <a:pt x="59" y="23"/>
                    <a:pt x="65" y="25"/>
                    <a:pt x="72" y="28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66"/>
                    <a:pt x="74" y="69"/>
                    <a:pt x="78" y="69"/>
                  </a:cubicBezTo>
                  <a:cubicBezTo>
                    <a:pt x="85" y="69"/>
                    <a:pt x="89" y="63"/>
                    <a:pt x="89" y="45"/>
                  </a:cubicBezTo>
                  <a:cubicBezTo>
                    <a:pt x="89" y="24"/>
                    <a:pt x="77" y="11"/>
                    <a:pt x="53" y="11"/>
                  </a:cubicBezTo>
                  <a:cubicBezTo>
                    <a:pt x="28" y="11"/>
                    <a:pt x="14" y="28"/>
                    <a:pt x="14" y="52"/>
                  </a:cubicBezTo>
                  <a:cubicBezTo>
                    <a:pt x="14" y="77"/>
                    <a:pt x="27" y="93"/>
                    <a:pt x="53" y="93"/>
                  </a:cubicBezTo>
                  <a:cubicBezTo>
                    <a:pt x="61" y="93"/>
                    <a:pt x="69" y="91"/>
                    <a:pt x="75" y="89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1" y="102"/>
                    <a:pt x="63" y="104"/>
                    <a:pt x="53" y="104"/>
                  </a:cubicBezTo>
                  <a:cubicBezTo>
                    <a:pt x="21" y="104"/>
                    <a:pt x="0" y="84"/>
                    <a:pt x="0" y="52"/>
                  </a:cubicBezTo>
                  <a:cubicBezTo>
                    <a:pt x="0" y="22"/>
                    <a:pt x="22" y="0"/>
                    <a:pt x="53" y="0"/>
                  </a:cubicBezTo>
                  <a:cubicBezTo>
                    <a:pt x="85" y="0"/>
                    <a:pt x="102" y="21"/>
                    <a:pt x="102" y="44"/>
                  </a:cubicBezTo>
                  <a:close/>
                  <a:moveTo>
                    <a:pt x="59" y="61"/>
                  </a:moveTo>
                  <a:cubicBezTo>
                    <a:pt x="59" y="34"/>
                    <a:pt x="59" y="34"/>
                    <a:pt x="59" y="34"/>
                  </a:cubicBezTo>
                  <a:cubicBezTo>
                    <a:pt x="57" y="33"/>
                    <a:pt x="55" y="33"/>
                    <a:pt x="53" y="33"/>
                  </a:cubicBezTo>
                  <a:cubicBezTo>
                    <a:pt x="45" y="33"/>
                    <a:pt x="41" y="39"/>
                    <a:pt x="41" y="53"/>
                  </a:cubicBezTo>
                  <a:cubicBezTo>
                    <a:pt x="41" y="64"/>
                    <a:pt x="44" y="69"/>
                    <a:pt x="49" y="69"/>
                  </a:cubicBezTo>
                  <a:cubicBezTo>
                    <a:pt x="55" y="69"/>
                    <a:pt x="58" y="65"/>
                    <a:pt x="59" y="61"/>
                  </a:cubicBez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şļîḍe">
              <a:extLst>
                <a:ext uri="{FF2B5EF4-FFF2-40B4-BE49-F238E27FC236}">
                  <a16:creationId xmlns:a16="http://schemas.microsoft.com/office/drawing/2014/main" id="{AF35B207-2442-4733-A6EC-07F528607C5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00525" y="3033713"/>
              <a:ext cx="38100" cy="38100"/>
            </a:xfrm>
            <a:custGeom>
              <a:avLst/>
              <a:gdLst>
                <a:gd name="T0" fmla="*/ 5 w 7"/>
                <a:gd name="T1" fmla="*/ 7 h 7"/>
                <a:gd name="T2" fmla="*/ 0 w 7"/>
                <a:gd name="T3" fmla="*/ 3 h 7"/>
                <a:gd name="T4" fmla="*/ 3 w 7"/>
                <a:gd name="T5" fmla="*/ 0 h 7"/>
                <a:gd name="T6" fmla="*/ 7 w 7"/>
                <a:gd name="T7" fmla="*/ 4 h 7"/>
                <a:gd name="T8" fmla="*/ 5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5" y="7"/>
                    <a:pt x="3" y="5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2"/>
                    <a:pt x="7" y="4"/>
                    <a:pt x="7" y="4"/>
                  </a:cubicBezTo>
                  <a:lnTo>
                    <a:pt x="5" y="7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şļíďe">
              <a:extLst>
                <a:ext uri="{FF2B5EF4-FFF2-40B4-BE49-F238E27FC236}">
                  <a16:creationId xmlns:a16="http://schemas.microsoft.com/office/drawing/2014/main" id="{FA334D30-85D5-42F4-B927-1873BF7C09B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57625" y="1631951"/>
              <a:ext cx="922338" cy="1368425"/>
            </a:xfrm>
            <a:custGeom>
              <a:avLst/>
              <a:gdLst>
                <a:gd name="T0" fmla="*/ 46 w 169"/>
                <a:gd name="T1" fmla="*/ 243 h 251"/>
                <a:gd name="T2" fmla="*/ 57 w 169"/>
                <a:gd name="T3" fmla="*/ 249 h 251"/>
                <a:gd name="T4" fmla="*/ 38 w 169"/>
                <a:gd name="T5" fmla="*/ 233 h 251"/>
                <a:gd name="T6" fmla="*/ 34 w 169"/>
                <a:gd name="T7" fmla="*/ 221 h 251"/>
                <a:gd name="T8" fmla="*/ 38 w 169"/>
                <a:gd name="T9" fmla="*/ 233 h 251"/>
                <a:gd name="T10" fmla="*/ 18 w 169"/>
                <a:gd name="T11" fmla="*/ 203 h 251"/>
                <a:gd name="T12" fmla="*/ 27 w 169"/>
                <a:gd name="T13" fmla="*/ 211 h 251"/>
                <a:gd name="T14" fmla="*/ 12 w 169"/>
                <a:gd name="T15" fmla="*/ 192 h 251"/>
                <a:gd name="T16" fmla="*/ 12 w 169"/>
                <a:gd name="T17" fmla="*/ 179 h 251"/>
                <a:gd name="T18" fmla="*/ 12 w 169"/>
                <a:gd name="T19" fmla="*/ 192 h 251"/>
                <a:gd name="T20" fmla="*/ 2 w 169"/>
                <a:gd name="T21" fmla="*/ 156 h 251"/>
                <a:gd name="T22" fmla="*/ 8 w 169"/>
                <a:gd name="T23" fmla="*/ 167 h 251"/>
                <a:gd name="T24" fmla="*/ 0 w 169"/>
                <a:gd name="T25" fmla="*/ 144 h 251"/>
                <a:gd name="T26" fmla="*/ 0 w 169"/>
                <a:gd name="T27" fmla="*/ 132 h 251"/>
                <a:gd name="T28" fmla="*/ 4 w 169"/>
                <a:gd name="T29" fmla="*/ 135 h 251"/>
                <a:gd name="T30" fmla="*/ 0 w 169"/>
                <a:gd name="T31" fmla="*/ 144 h 251"/>
                <a:gd name="T32" fmla="*/ 1 w 169"/>
                <a:gd name="T33" fmla="*/ 120 h 251"/>
                <a:gd name="T34" fmla="*/ 7 w 169"/>
                <a:gd name="T35" fmla="*/ 108 h 251"/>
                <a:gd name="T36" fmla="*/ 10 w 169"/>
                <a:gd name="T37" fmla="*/ 97 h 251"/>
                <a:gd name="T38" fmla="*/ 10 w 169"/>
                <a:gd name="T39" fmla="*/ 84 h 251"/>
                <a:gd name="T40" fmla="*/ 10 w 169"/>
                <a:gd name="T41" fmla="*/ 97 h 251"/>
                <a:gd name="T42" fmla="*/ 15 w 169"/>
                <a:gd name="T43" fmla="*/ 73 h 251"/>
                <a:gd name="T44" fmla="*/ 24 w 169"/>
                <a:gd name="T45" fmla="*/ 64 h 251"/>
                <a:gd name="T46" fmla="*/ 31 w 169"/>
                <a:gd name="T47" fmla="*/ 54 h 251"/>
                <a:gd name="T48" fmla="*/ 35 w 169"/>
                <a:gd name="T49" fmla="*/ 42 h 251"/>
                <a:gd name="T50" fmla="*/ 31 w 169"/>
                <a:gd name="T51" fmla="*/ 54 h 251"/>
                <a:gd name="T52" fmla="*/ 43 w 169"/>
                <a:gd name="T53" fmla="*/ 33 h 251"/>
                <a:gd name="T54" fmla="*/ 55 w 169"/>
                <a:gd name="T55" fmla="*/ 28 h 251"/>
                <a:gd name="T56" fmla="*/ 65 w 169"/>
                <a:gd name="T57" fmla="*/ 21 h 251"/>
                <a:gd name="T58" fmla="*/ 73 w 169"/>
                <a:gd name="T59" fmla="*/ 12 h 251"/>
                <a:gd name="T60" fmla="*/ 65 w 169"/>
                <a:gd name="T61" fmla="*/ 21 h 251"/>
                <a:gd name="T62" fmla="*/ 85 w 169"/>
                <a:gd name="T63" fmla="*/ 7 h 251"/>
                <a:gd name="T64" fmla="*/ 97 w 169"/>
                <a:gd name="T65" fmla="*/ 7 h 251"/>
                <a:gd name="T66" fmla="*/ 168 w 169"/>
                <a:gd name="T67" fmla="*/ 8 h 251"/>
                <a:gd name="T68" fmla="*/ 157 w 169"/>
                <a:gd name="T69" fmla="*/ 2 h 251"/>
                <a:gd name="T70" fmla="*/ 168 w 169"/>
                <a:gd name="T71" fmla="*/ 8 h 251"/>
                <a:gd name="T72" fmla="*/ 108 w 169"/>
                <a:gd name="T73" fmla="*/ 1 h 251"/>
                <a:gd name="T74" fmla="*/ 121 w 169"/>
                <a:gd name="T75" fmla="*/ 4 h 251"/>
                <a:gd name="T76" fmla="*/ 145 w 169"/>
                <a:gd name="T77" fmla="*/ 4 h 251"/>
                <a:gd name="T78" fmla="*/ 133 w 169"/>
                <a:gd name="T79" fmla="*/ 0 h 251"/>
                <a:gd name="T80" fmla="*/ 145 w 169"/>
                <a:gd name="T81" fmla="*/ 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9" h="251">
                  <a:moveTo>
                    <a:pt x="54" y="251"/>
                  </a:moveTo>
                  <a:cubicBezTo>
                    <a:pt x="51" y="249"/>
                    <a:pt x="49" y="246"/>
                    <a:pt x="46" y="243"/>
                  </a:cubicBezTo>
                  <a:cubicBezTo>
                    <a:pt x="49" y="240"/>
                    <a:pt x="49" y="240"/>
                    <a:pt x="49" y="240"/>
                  </a:cubicBezTo>
                  <a:cubicBezTo>
                    <a:pt x="52" y="243"/>
                    <a:pt x="54" y="246"/>
                    <a:pt x="57" y="249"/>
                  </a:cubicBezTo>
                  <a:lnTo>
                    <a:pt x="54" y="251"/>
                  </a:lnTo>
                  <a:close/>
                  <a:moveTo>
                    <a:pt x="38" y="233"/>
                  </a:moveTo>
                  <a:cubicBezTo>
                    <a:pt x="35" y="230"/>
                    <a:pt x="33" y="227"/>
                    <a:pt x="31" y="223"/>
                  </a:cubicBezTo>
                  <a:cubicBezTo>
                    <a:pt x="34" y="221"/>
                    <a:pt x="34" y="221"/>
                    <a:pt x="34" y="221"/>
                  </a:cubicBezTo>
                  <a:cubicBezTo>
                    <a:pt x="36" y="224"/>
                    <a:pt x="39" y="228"/>
                    <a:pt x="41" y="231"/>
                  </a:cubicBezTo>
                  <a:lnTo>
                    <a:pt x="38" y="233"/>
                  </a:lnTo>
                  <a:close/>
                  <a:moveTo>
                    <a:pt x="24" y="213"/>
                  </a:moveTo>
                  <a:cubicBezTo>
                    <a:pt x="22" y="210"/>
                    <a:pt x="20" y="206"/>
                    <a:pt x="18" y="203"/>
                  </a:cubicBezTo>
                  <a:cubicBezTo>
                    <a:pt x="21" y="201"/>
                    <a:pt x="21" y="201"/>
                    <a:pt x="21" y="201"/>
                  </a:cubicBezTo>
                  <a:cubicBezTo>
                    <a:pt x="23" y="204"/>
                    <a:pt x="25" y="208"/>
                    <a:pt x="27" y="211"/>
                  </a:cubicBezTo>
                  <a:lnTo>
                    <a:pt x="24" y="213"/>
                  </a:lnTo>
                  <a:close/>
                  <a:moveTo>
                    <a:pt x="12" y="192"/>
                  </a:moveTo>
                  <a:cubicBezTo>
                    <a:pt x="11" y="188"/>
                    <a:pt x="9" y="184"/>
                    <a:pt x="8" y="180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3" y="183"/>
                    <a:pt x="15" y="186"/>
                    <a:pt x="16" y="190"/>
                  </a:cubicBezTo>
                  <a:lnTo>
                    <a:pt x="12" y="192"/>
                  </a:lnTo>
                  <a:close/>
                  <a:moveTo>
                    <a:pt x="4" y="168"/>
                  </a:moveTo>
                  <a:cubicBezTo>
                    <a:pt x="3" y="164"/>
                    <a:pt x="3" y="160"/>
                    <a:pt x="2" y="156"/>
                  </a:cubicBezTo>
                  <a:cubicBezTo>
                    <a:pt x="6" y="156"/>
                    <a:pt x="6" y="156"/>
                    <a:pt x="6" y="156"/>
                  </a:cubicBezTo>
                  <a:cubicBezTo>
                    <a:pt x="6" y="160"/>
                    <a:pt x="7" y="164"/>
                    <a:pt x="8" y="167"/>
                  </a:cubicBezTo>
                  <a:lnTo>
                    <a:pt x="4" y="168"/>
                  </a:lnTo>
                  <a:close/>
                  <a:moveTo>
                    <a:pt x="0" y="144"/>
                  </a:moveTo>
                  <a:cubicBezTo>
                    <a:pt x="0" y="141"/>
                    <a:pt x="0" y="138"/>
                    <a:pt x="0" y="135"/>
                  </a:cubicBezTo>
                  <a:cubicBezTo>
                    <a:pt x="0" y="134"/>
                    <a:pt x="0" y="133"/>
                    <a:pt x="0" y="132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4" y="133"/>
                    <a:pt x="4" y="134"/>
                    <a:pt x="4" y="135"/>
                  </a:cubicBezTo>
                  <a:cubicBezTo>
                    <a:pt x="4" y="138"/>
                    <a:pt x="4" y="141"/>
                    <a:pt x="4" y="144"/>
                  </a:cubicBezTo>
                  <a:lnTo>
                    <a:pt x="0" y="144"/>
                  </a:lnTo>
                  <a:close/>
                  <a:moveTo>
                    <a:pt x="5" y="120"/>
                  </a:moveTo>
                  <a:cubicBezTo>
                    <a:pt x="1" y="120"/>
                    <a:pt x="1" y="120"/>
                    <a:pt x="1" y="120"/>
                  </a:cubicBezTo>
                  <a:cubicBezTo>
                    <a:pt x="1" y="116"/>
                    <a:pt x="2" y="112"/>
                    <a:pt x="3" y="108"/>
                  </a:cubicBezTo>
                  <a:cubicBezTo>
                    <a:pt x="7" y="108"/>
                    <a:pt x="7" y="108"/>
                    <a:pt x="7" y="108"/>
                  </a:cubicBezTo>
                  <a:cubicBezTo>
                    <a:pt x="6" y="112"/>
                    <a:pt x="5" y="116"/>
                    <a:pt x="5" y="120"/>
                  </a:cubicBezTo>
                  <a:close/>
                  <a:moveTo>
                    <a:pt x="10" y="97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7" y="92"/>
                    <a:pt x="9" y="88"/>
                    <a:pt x="10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9"/>
                    <a:pt x="11" y="93"/>
                    <a:pt x="10" y="97"/>
                  </a:cubicBezTo>
                  <a:close/>
                  <a:moveTo>
                    <a:pt x="19" y="75"/>
                  </a:moveTo>
                  <a:cubicBezTo>
                    <a:pt x="15" y="73"/>
                    <a:pt x="15" y="73"/>
                    <a:pt x="15" y="73"/>
                  </a:cubicBezTo>
                  <a:cubicBezTo>
                    <a:pt x="17" y="69"/>
                    <a:pt x="19" y="66"/>
                    <a:pt x="21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2" y="68"/>
                    <a:pt x="20" y="71"/>
                    <a:pt x="19" y="75"/>
                  </a:cubicBezTo>
                  <a:close/>
                  <a:moveTo>
                    <a:pt x="31" y="54"/>
                  </a:moveTo>
                  <a:cubicBezTo>
                    <a:pt x="28" y="52"/>
                    <a:pt x="28" y="52"/>
                    <a:pt x="28" y="52"/>
                  </a:cubicBezTo>
                  <a:cubicBezTo>
                    <a:pt x="30" y="48"/>
                    <a:pt x="32" y="45"/>
                    <a:pt x="35" y="42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6" y="47"/>
                    <a:pt x="33" y="51"/>
                    <a:pt x="31" y="54"/>
                  </a:cubicBezTo>
                  <a:close/>
                  <a:moveTo>
                    <a:pt x="46" y="36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6" y="30"/>
                    <a:pt x="49" y="27"/>
                    <a:pt x="52" y="25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2" y="30"/>
                    <a:pt x="49" y="33"/>
                    <a:pt x="46" y="36"/>
                  </a:cubicBezTo>
                  <a:close/>
                  <a:moveTo>
                    <a:pt x="65" y="21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66" y="15"/>
                    <a:pt x="70" y="13"/>
                    <a:pt x="73" y="12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1" y="17"/>
                    <a:pt x="68" y="19"/>
                    <a:pt x="65" y="21"/>
                  </a:cubicBezTo>
                  <a:close/>
                  <a:moveTo>
                    <a:pt x="86" y="11"/>
                  </a:moveTo>
                  <a:cubicBezTo>
                    <a:pt x="85" y="7"/>
                    <a:pt x="85" y="7"/>
                    <a:pt x="85" y="7"/>
                  </a:cubicBezTo>
                  <a:cubicBezTo>
                    <a:pt x="88" y="5"/>
                    <a:pt x="92" y="4"/>
                    <a:pt x="96" y="3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3" y="8"/>
                    <a:pt x="90" y="9"/>
                    <a:pt x="86" y="11"/>
                  </a:cubicBezTo>
                  <a:close/>
                  <a:moveTo>
                    <a:pt x="168" y="8"/>
                  </a:moveTo>
                  <a:cubicBezTo>
                    <a:pt x="164" y="7"/>
                    <a:pt x="161" y="6"/>
                    <a:pt x="157" y="6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61" y="2"/>
                    <a:pt x="165" y="3"/>
                    <a:pt x="169" y="4"/>
                  </a:cubicBezTo>
                  <a:lnTo>
                    <a:pt x="168" y="8"/>
                  </a:lnTo>
                  <a:close/>
                  <a:moveTo>
                    <a:pt x="109" y="5"/>
                  </a:moveTo>
                  <a:cubicBezTo>
                    <a:pt x="108" y="1"/>
                    <a:pt x="108" y="1"/>
                    <a:pt x="108" y="1"/>
                  </a:cubicBezTo>
                  <a:cubicBezTo>
                    <a:pt x="112" y="0"/>
                    <a:pt x="117" y="0"/>
                    <a:pt x="121" y="0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17" y="4"/>
                    <a:pt x="113" y="4"/>
                    <a:pt x="109" y="5"/>
                  </a:cubicBezTo>
                  <a:close/>
                  <a:moveTo>
                    <a:pt x="145" y="4"/>
                  </a:moveTo>
                  <a:cubicBezTo>
                    <a:pt x="141" y="4"/>
                    <a:pt x="137" y="4"/>
                    <a:pt x="133" y="4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37" y="0"/>
                    <a:pt x="141" y="0"/>
                    <a:pt x="145" y="0"/>
                  </a:cubicBezTo>
                  <a:lnTo>
                    <a:pt x="145" y="4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îśḷídê">
              <a:extLst>
                <a:ext uri="{FF2B5EF4-FFF2-40B4-BE49-F238E27FC236}">
                  <a16:creationId xmlns:a16="http://schemas.microsoft.com/office/drawing/2014/main" id="{9E42861B-EF3C-4A99-8637-29EE9E2F878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40288" y="1670051"/>
              <a:ext cx="38100" cy="26988"/>
            </a:xfrm>
            <a:custGeom>
              <a:avLst/>
              <a:gdLst>
                <a:gd name="T0" fmla="*/ 6 w 7"/>
                <a:gd name="T1" fmla="*/ 5 h 5"/>
                <a:gd name="T2" fmla="*/ 0 w 7"/>
                <a:gd name="T3" fmla="*/ 4 h 5"/>
                <a:gd name="T4" fmla="*/ 1 w 7"/>
                <a:gd name="T5" fmla="*/ 0 h 5"/>
                <a:gd name="T6" fmla="*/ 7 w 7"/>
                <a:gd name="T7" fmla="*/ 2 h 5"/>
                <a:gd name="T8" fmla="*/ 6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5"/>
                  </a:moveTo>
                  <a:cubicBezTo>
                    <a:pt x="4" y="5"/>
                    <a:pt x="2" y="4"/>
                    <a:pt x="0" y="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5" y="1"/>
                    <a:pt x="7" y="2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şļiḍe">
              <a:extLst>
                <a:ext uri="{FF2B5EF4-FFF2-40B4-BE49-F238E27FC236}">
                  <a16:creationId xmlns:a16="http://schemas.microsoft.com/office/drawing/2014/main" id="{C6D48209-E815-4C94-BA2B-6C1AD1AF430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25988" y="1549401"/>
              <a:ext cx="223838" cy="234950"/>
            </a:xfrm>
            <a:custGeom>
              <a:avLst/>
              <a:gdLst>
                <a:gd name="T0" fmla="*/ 0 w 141"/>
                <a:gd name="T1" fmla="*/ 134 h 148"/>
                <a:gd name="T2" fmla="*/ 86 w 141"/>
                <a:gd name="T3" fmla="*/ 86 h 148"/>
                <a:gd name="T4" fmla="*/ 37 w 141"/>
                <a:gd name="T5" fmla="*/ 0 h 148"/>
                <a:gd name="T6" fmla="*/ 96 w 141"/>
                <a:gd name="T7" fmla="*/ 14 h 148"/>
                <a:gd name="T8" fmla="*/ 141 w 141"/>
                <a:gd name="T9" fmla="*/ 103 h 148"/>
                <a:gd name="T10" fmla="*/ 55 w 141"/>
                <a:gd name="T11" fmla="*/ 148 h 148"/>
                <a:gd name="T12" fmla="*/ 0 w 141"/>
                <a:gd name="T13" fmla="*/ 13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148">
                  <a:moveTo>
                    <a:pt x="0" y="134"/>
                  </a:moveTo>
                  <a:lnTo>
                    <a:pt x="86" y="86"/>
                  </a:lnTo>
                  <a:lnTo>
                    <a:pt x="37" y="0"/>
                  </a:lnTo>
                  <a:lnTo>
                    <a:pt x="96" y="14"/>
                  </a:lnTo>
                  <a:lnTo>
                    <a:pt x="141" y="103"/>
                  </a:lnTo>
                  <a:lnTo>
                    <a:pt x="55" y="148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ṡ1íḑê">
              <a:extLst>
                <a:ext uri="{FF2B5EF4-FFF2-40B4-BE49-F238E27FC236}">
                  <a16:creationId xmlns:a16="http://schemas.microsoft.com/office/drawing/2014/main" id="{5CFDB6A6-6F40-445D-9A6F-2F6C7BE90E4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78588" y="4603751"/>
              <a:ext cx="98425" cy="104775"/>
            </a:xfrm>
            <a:custGeom>
              <a:avLst/>
              <a:gdLst>
                <a:gd name="T0" fmla="*/ 38 w 62"/>
                <a:gd name="T1" fmla="*/ 0 h 66"/>
                <a:gd name="T2" fmla="*/ 62 w 62"/>
                <a:gd name="T3" fmla="*/ 66 h 66"/>
                <a:gd name="T4" fmla="*/ 0 w 62"/>
                <a:gd name="T5" fmla="*/ 21 h 66"/>
                <a:gd name="T6" fmla="*/ 38 w 6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66">
                  <a:moveTo>
                    <a:pt x="38" y="0"/>
                  </a:moveTo>
                  <a:lnTo>
                    <a:pt x="62" y="66"/>
                  </a:lnTo>
                  <a:lnTo>
                    <a:pt x="0" y="21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şlíde">
              <a:extLst>
                <a:ext uri="{FF2B5EF4-FFF2-40B4-BE49-F238E27FC236}">
                  <a16:creationId xmlns:a16="http://schemas.microsoft.com/office/drawing/2014/main" id="{D79EDA6E-5E5D-4CF2-960B-4A32E8703BA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78588" y="4603751"/>
              <a:ext cx="98425" cy="104775"/>
            </a:xfrm>
            <a:custGeom>
              <a:avLst/>
              <a:gdLst>
                <a:gd name="T0" fmla="*/ 38 w 62"/>
                <a:gd name="T1" fmla="*/ 0 h 66"/>
                <a:gd name="T2" fmla="*/ 62 w 62"/>
                <a:gd name="T3" fmla="*/ 66 h 66"/>
                <a:gd name="T4" fmla="*/ 0 w 62"/>
                <a:gd name="T5" fmla="*/ 21 h 66"/>
                <a:gd name="T6" fmla="*/ 38 w 6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66">
                  <a:moveTo>
                    <a:pt x="38" y="0"/>
                  </a:moveTo>
                  <a:lnTo>
                    <a:pt x="62" y="66"/>
                  </a:lnTo>
                  <a:lnTo>
                    <a:pt x="0" y="21"/>
                  </a:lnTo>
                  <a:lnTo>
                    <a:pt x="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ŝļidè">
              <a:extLst>
                <a:ext uri="{FF2B5EF4-FFF2-40B4-BE49-F238E27FC236}">
                  <a16:creationId xmlns:a16="http://schemas.microsoft.com/office/drawing/2014/main" id="{B1CB3D53-F43C-42D4-9DA9-64FE248355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0338" y="4614863"/>
              <a:ext cx="60325" cy="76200"/>
            </a:xfrm>
            <a:custGeom>
              <a:avLst/>
              <a:gdLst>
                <a:gd name="T0" fmla="*/ 6 w 11"/>
                <a:gd name="T1" fmla="*/ 0 h 14"/>
                <a:gd name="T2" fmla="*/ 0 w 11"/>
                <a:gd name="T3" fmla="*/ 3 h 14"/>
                <a:gd name="T4" fmla="*/ 11 w 11"/>
                <a:gd name="T5" fmla="*/ 14 h 14"/>
                <a:gd name="T6" fmla="*/ 6 w 11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4">
                  <a:moveTo>
                    <a:pt x="6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7"/>
                    <a:pt x="8" y="11"/>
                    <a:pt x="11" y="14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ïṣ1îḑé">
              <a:extLst>
                <a:ext uri="{FF2B5EF4-FFF2-40B4-BE49-F238E27FC236}">
                  <a16:creationId xmlns:a16="http://schemas.microsoft.com/office/drawing/2014/main" id="{2B0F681C-18B2-4D9A-994C-CEB85419E57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96000" y="4249738"/>
              <a:ext cx="196850" cy="120650"/>
            </a:xfrm>
            <a:custGeom>
              <a:avLst/>
              <a:gdLst>
                <a:gd name="T0" fmla="*/ 107 w 124"/>
                <a:gd name="T1" fmla="*/ 0 h 76"/>
                <a:gd name="T2" fmla="*/ 124 w 124"/>
                <a:gd name="T3" fmla="*/ 34 h 76"/>
                <a:gd name="T4" fmla="*/ 107 w 124"/>
                <a:gd name="T5" fmla="*/ 76 h 76"/>
                <a:gd name="T6" fmla="*/ 52 w 124"/>
                <a:gd name="T7" fmla="*/ 76 h 76"/>
                <a:gd name="T8" fmla="*/ 0 w 124"/>
                <a:gd name="T9" fmla="*/ 58 h 76"/>
                <a:gd name="T10" fmla="*/ 14 w 124"/>
                <a:gd name="T11" fmla="*/ 10 h 76"/>
                <a:gd name="T12" fmla="*/ 107 w 124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76">
                  <a:moveTo>
                    <a:pt x="107" y="0"/>
                  </a:moveTo>
                  <a:lnTo>
                    <a:pt x="124" y="34"/>
                  </a:lnTo>
                  <a:lnTo>
                    <a:pt x="107" y="76"/>
                  </a:lnTo>
                  <a:lnTo>
                    <a:pt x="52" y="76"/>
                  </a:lnTo>
                  <a:lnTo>
                    <a:pt x="0" y="58"/>
                  </a:lnTo>
                  <a:lnTo>
                    <a:pt x="14" y="1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ṥ1îḑe">
              <a:extLst>
                <a:ext uri="{FF2B5EF4-FFF2-40B4-BE49-F238E27FC236}">
                  <a16:creationId xmlns:a16="http://schemas.microsoft.com/office/drawing/2014/main" id="{5859D159-E81B-468E-A23F-B1F5B928879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96000" y="4249738"/>
              <a:ext cx="196850" cy="120650"/>
            </a:xfrm>
            <a:custGeom>
              <a:avLst/>
              <a:gdLst>
                <a:gd name="T0" fmla="*/ 107 w 124"/>
                <a:gd name="T1" fmla="*/ 0 h 76"/>
                <a:gd name="T2" fmla="*/ 124 w 124"/>
                <a:gd name="T3" fmla="*/ 34 h 76"/>
                <a:gd name="T4" fmla="*/ 107 w 124"/>
                <a:gd name="T5" fmla="*/ 76 h 76"/>
                <a:gd name="T6" fmla="*/ 52 w 124"/>
                <a:gd name="T7" fmla="*/ 76 h 76"/>
                <a:gd name="T8" fmla="*/ 0 w 124"/>
                <a:gd name="T9" fmla="*/ 58 h 76"/>
                <a:gd name="T10" fmla="*/ 14 w 124"/>
                <a:gd name="T11" fmla="*/ 10 h 76"/>
                <a:gd name="T12" fmla="*/ 107 w 124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76">
                  <a:moveTo>
                    <a:pt x="107" y="0"/>
                  </a:moveTo>
                  <a:lnTo>
                    <a:pt x="124" y="34"/>
                  </a:lnTo>
                  <a:lnTo>
                    <a:pt x="107" y="76"/>
                  </a:lnTo>
                  <a:lnTo>
                    <a:pt x="52" y="76"/>
                  </a:lnTo>
                  <a:lnTo>
                    <a:pt x="0" y="58"/>
                  </a:lnTo>
                  <a:lnTo>
                    <a:pt x="14" y="10"/>
                  </a:lnTo>
                  <a:lnTo>
                    <a:pt x="1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śļíďê">
              <a:extLst>
                <a:ext uri="{FF2B5EF4-FFF2-40B4-BE49-F238E27FC236}">
                  <a16:creationId xmlns:a16="http://schemas.microsoft.com/office/drawing/2014/main" id="{6C9FF4B1-9992-4431-ACDF-96A010F40FB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10300" y="4249738"/>
              <a:ext cx="76200" cy="103188"/>
            </a:xfrm>
            <a:custGeom>
              <a:avLst/>
              <a:gdLst>
                <a:gd name="T0" fmla="*/ 10 w 14"/>
                <a:gd name="T1" fmla="*/ 0 h 19"/>
                <a:gd name="T2" fmla="*/ 10 w 14"/>
                <a:gd name="T3" fmla="*/ 0 h 19"/>
                <a:gd name="T4" fmla="*/ 4 w 14"/>
                <a:gd name="T5" fmla="*/ 2 h 19"/>
                <a:gd name="T6" fmla="*/ 0 w 14"/>
                <a:gd name="T7" fmla="*/ 3 h 19"/>
                <a:gd name="T8" fmla="*/ 1 w 14"/>
                <a:gd name="T9" fmla="*/ 12 h 19"/>
                <a:gd name="T10" fmla="*/ 7 w 14"/>
                <a:gd name="T11" fmla="*/ 19 h 19"/>
                <a:gd name="T12" fmla="*/ 14 w 14"/>
                <a:gd name="T13" fmla="*/ 8 h 19"/>
                <a:gd name="T14" fmla="*/ 10 w 14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9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8" y="1"/>
                    <a:pt x="4" y="2"/>
                    <a:pt x="4" y="2"/>
                  </a:cubicBezTo>
                  <a:cubicBezTo>
                    <a:pt x="3" y="2"/>
                    <a:pt x="2" y="3"/>
                    <a:pt x="0" y="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3" y="15"/>
                    <a:pt x="14" y="9"/>
                    <a:pt x="14" y="8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šlîḍê">
              <a:extLst>
                <a:ext uri="{FF2B5EF4-FFF2-40B4-BE49-F238E27FC236}">
                  <a16:creationId xmlns:a16="http://schemas.microsoft.com/office/drawing/2014/main" id="{92368922-0FB8-4C51-9AC3-416C8678874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57863" y="4287838"/>
              <a:ext cx="796925" cy="644525"/>
            </a:xfrm>
            <a:custGeom>
              <a:avLst/>
              <a:gdLst>
                <a:gd name="T0" fmla="*/ 0 w 146"/>
                <a:gd name="T1" fmla="*/ 53 h 118"/>
                <a:gd name="T2" fmla="*/ 26 w 146"/>
                <a:gd name="T3" fmla="*/ 97 h 118"/>
                <a:gd name="T4" fmla="*/ 46 w 146"/>
                <a:gd name="T5" fmla="*/ 117 h 118"/>
                <a:gd name="T6" fmla="*/ 82 w 146"/>
                <a:gd name="T7" fmla="*/ 118 h 118"/>
                <a:gd name="T8" fmla="*/ 108 w 146"/>
                <a:gd name="T9" fmla="*/ 95 h 118"/>
                <a:gd name="T10" fmla="*/ 124 w 146"/>
                <a:gd name="T11" fmla="*/ 70 h 118"/>
                <a:gd name="T12" fmla="*/ 146 w 146"/>
                <a:gd name="T13" fmla="*/ 59 h 118"/>
                <a:gd name="T14" fmla="*/ 132 w 146"/>
                <a:gd name="T15" fmla="*/ 17 h 118"/>
                <a:gd name="T16" fmla="*/ 97 w 146"/>
                <a:gd name="T17" fmla="*/ 1 h 118"/>
                <a:gd name="T18" fmla="*/ 77 w 146"/>
                <a:gd name="T19" fmla="*/ 15 h 118"/>
                <a:gd name="T20" fmla="*/ 56 w 146"/>
                <a:gd name="T21" fmla="*/ 0 h 118"/>
                <a:gd name="T22" fmla="*/ 0 w 146"/>
                <a:gd name="T23" fmla="*/ 5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118">
                  <a:moveTo>
                    <a:pt x="0" y="53"/>
                  </a:moveTo>
                  <a:cubicBezTo>
                    <a:pt x="26" y="97"/>
                    <a:pt x="26" y="97"/>
                    <a:pt x="26" y="9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82" y="118"/>
                    <a:pt x="82" y="118"/>
                    <a:pt x="82" y="118"/>
                  </a:cubicBezTo>
                  <a:cubicBezTo>
                    <a:pt x="108" y="95"/>
                    <a:pt x="108" y="95"/>
                    <a:pt x="108" y="95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46" y="59"/>
                    <a:pt x="146" y="59"/>
                    <a:pt x="146" y="59"/>
                  </a:cubicBezTo>
                  <a:cubicBezTo>
                    <a:pt x="146" y="59"/>
                    <a:pt x="141" y="27"/>
                    <a:pt x="132" y="17"/>
                  </a:cubicBezTo>
                  <a:cubicBezTo>
                    <a:pt x="123" y="8"/>
                    <a:pt x="97" y="1"/>
                    <a:pt x="97" y="1"/>
                  </a:cubicBezTo>
                  <a:cubicBezTo>
                    <a:pt x="97" y="1"/>
                    <a:pt x="96" y="16"/>
                    <a:pt x="77" y="15"/>
                  </a:cubicBezTo>
                  <a:cubicBezTo>
                    <a:pt x="59" y="15"/>
                    <a:pt x="56" y="0"/>
                    <a:pt x="56" y="0"/>
                  </a:cubicBezTo>
                  <a:cubicBezTo>
                    <a:pt x="0" y="53"/>
                    <a:pt x="0" y="53"/>
                    <a:pt x="0" y="53"/>
                  </a:cubicBezTo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ṡlîdè">
              <a:extLst>
                <a:ext uri="{FF2B5EF4-FFF2-40B4-BE49-F238E27FC236}">
                  <a16:creationId xmlns:a16="http://schemas.microsoft.com/office/drawing/2014/main" id="{52102E3D-19C1-4FE7-B6DB-E8D332F46E5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48363" y="4565651"/>
              <a:ext cx="393700" cy="333375"/>
            </a:xfrm>
            <a:custGeom>
              <a:avLst/>
              <a:gdLst>
                <a:gd name="T0" fmla="*/ 47 w 72"/>
                <a:gd name="T1" fmla="*/ 26 h 61"/>
                <a:gd name="T2" fmla="*/ 44 w 72"/>
                <a:gd name="T3" fmla="*/ 27 h 61"/>
                <a:gd name="T4" fmla="*/ 41 w 72"/>
                <a:gd name="T5" fmla="*/ 27 h 61"/>
                <a:gd name="T6" fmla="*/ 7 w 72"/>
                <a:gd name="T7" fmla="*/ 46 h 61"/>
                <a:gd name="T8" fmla="*/ 0 w 72"/>
                <a:gd name="T9" fmla="*/ 45 h 61"/>
                <a:gd name="T10" fmla="*/ 10 w 72"/>
                <a:gd name="T11" fmla="*/ 58 h 61"/>
                <a:gd name="T12" fmla="*/ 15 w 72"/>
                <a:gd name="T13" fmla="*/ 61 h 61"/>
                <a:gd name="T14" fmla="*/ 17 w 72"/>
                <a:gd name="T15" fmla="*/ 61 h 61"/>
                <a:gd name="T16" fmla="*/ 19 w 72"/>
                <a:gd name="T17" fmla="*/ 60 h 61"/>
                <a:gd name="T18" fmla="*/ 20 w 72"/>
                <a:gd name="T19" fmla="*/ 61 h 61"/>
                <a:gd name="T20" fmla="*/ 24 w 72"/>
                <a:gd name="T21" fmla="*/ 61 h 61"/>
                <a:gd name="T22" fmla="*/ 46 w 72"/>
                <a:gd name="T23" fmla="*/ 60 h 61"/>
                <a:gd name="T24" fmla="*/ 44 w 72"/>
                <a:gd name="T25" fmla="*/ 43 h 61"/>
                <a:gd name="T26" fmla="*/ 47 w 72"/>
                <a:gd name="T27" fmla="*/ 26 h 61"/>
                <a:gd name="T28" fmla="*/ 67 w 72"/>
                <a:gd name="T29" fmla="*/ 0 h 61"/>
                <a:gd name="T30" fmla="*/ 56 w 72"/>
                <a:gd name="T31" fmla="*/ 12 h 61"/>
                <a:gd name="T32" fmla="*/ 56 w 72"/>
                <a:gd name="T33" fmla="*/ 12 h 61"/>
                <a:gd name="T34" fmla="*/ 55 w 72"/>
                <a:gd name="T35" fmla="*/ 17 h 61"/>
                <a:gd name="T36" fmla="*/ 64 w 72"/>
                <a:gd name="T37" fmla="*/ 17 h 61"/>
                <a:gd name="T38" fmla="*/ 72 w 72"/>
                <a:gd name="T39" fmla="*/ 16 h 61"/>
                <a:gd name="T40" fmla="*/ 72 w 72"/>
                <a:gd name="T41" fmla="*/ 16 h 61"/>
                <a:gd name="T42" fmla="*/ 67 w 72"/>
                <a:gd name="T4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2" h="61">
                  <a:moveTo>
                    <a:pt x="47" y="26"/>
                  </a:moveTo>
                  <a:cubicBezTo>
                    <a:pt x="46" y="26"/>
                    <a:pt x="45" y="27"/>
                    <a:pt x="44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28" y="42"/>
                    <a:pt x="16" y="46"/>
                    <a:pt x="7" y="46"/>
                  </a:cubicBezTo>
                  <a:cubicBezTo>
                    <a:pt x="4" y="46"/>
                    <a:pt x="2" y="46"/>
                    <a:pt x="0" y="45"/>
                  </a:cubicBezTo>
                  <a:cubicBezTo>
                    <a:pt x="5" y="52"/>
                    <a:pt x="8" y="56"/>
                    <a:pt x="10" y="58"/>
                  </a:cubicBezTo>
                  <a:cubicBezTo>
                    <a:pt x="12" y="60"/>
                    <a:pt x="13" y="61"/>
                    <a:pt x="15" y="61"/>
                  </a:cubicBezTo>
                  <a:cubicBezTo>
                    <a:pt x="15" y="61"/>
                    <a:pt x="16" y="61"/>
                    <a:pt x="17" y="61"/>
                  </a:cubicBezTo>
                  <a:cubicBezTo>
                    <a:pt x="17" y="61"/>
                    <a:pt x="18" y="60"/>
                    <a:pt x="19" y="60"/>
                  </a:cubicBezTo>
                  <a:cubicBezTo>
                    <a:pt x="19" y="60"/>
                    <a:pt x="20" y="60"/>
                    <a:pt x="20" y="61"/>
                  </a:cubicBezTo>
                  <a:cubicBezTo>
                    <a:pt x="21" y="61"/>
                    <a:pt x="22" y="61"/>
                    <a:pt x="24" y="61"/>
                  </a:cubicBezTo>
                  <a:cubicBezTo>
                    <a:pt x="30" y="61"/>
                    <a:pt x="40" y="60"/>
                    <a:pt x="46" y="60"/>
                  </a:cubicBezTo>
                  <a:cubicBezTo>
                    <a:pt x="45" y="52"/>
                    <a:pt x="44" y="46"/>
                    <a:pt x="44" y="43"/>
                  </a:cubicBezTo>
                  <a:cubicBezTo>
                    <a:pt x="44" y="38"/>
                    <a:pt x="45" y="31"/>
                    <a:pt x="47" y="26"/>
                  </a:cubicBezTo>
                  <a:moveTo>
                    <a:pt x="67" y="0"/>
                  </a:moveTo>
                  <a:cubicBezTo>
                    <a:pt x="56" y="12"/>
                    <a:pt x="56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4"/>
                    <a:pt x="56" y="16"/>
                    <a:pt x="55" y="17"/>
                  </a:cubicBezTo>
                  <a:cubicBezTo>
                    <a:pt x="59" y="17"/>
                    <a:pt x="64" y="17"/>
                    <a:pt x="64" y="17"/>
                  </a:cubicBezTo>
                  <a:cubicBezTo>
                    <a:pt x="66" y="16"/>
                    <a:pt x="68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ṣḻidé">
              <a:extLst>
                <a:ext uri="{FF2B5EF4-FFF2-40B4-BE49-F238E27FC236}">
                  <a16:creationId xmlns:a16="http://schemas.microsoft.com/office/drawing/2014/main" id="{675295BE-8CF1-4F09-8A0B-01B3B23ADAE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97575" y="3867151"/>
              <a:ext cx="371475" cy="404813"/>
            </a:xfrm>
            <a:custGeom>
              <a:avLst/>
              <a:gdLst>
                <a:gd name="T0" fmla="*/ 43 w 68"/>
                <a:gd name="T1" fmla="*/ 72 h 74"/>
                <a:gd name="T2" fmla="*/ 51 w 68"/>
                <a:gd name="T3" fmla="*/ 69 h 74"/>
                <a:gd name="T4" fmla="*/ 62 w 68"/>
                <a:gd name="T5" fmla="*/ 42 h 74"/>
                <a:gd name="T6" fmla="*/ 63 w 68"/>
                <a:gd name="T7" fmla="*/ 26 h 74"/>
                <a:gd name="T8" fmla="*/ 68 w 68"/>
                <a:gd name="T9" fmla="*/ 21 h 74"/>
                <a:gd name="T10" fmla="*/ 64 w 68"/>
                <a:gd name="T11" fmla="*/ 14 h 74"/>
                <a:gd name="T12" fmla="*/ 58 w 68"/>
                <a:gd name="T13" fmla="*/ 17 h 74"/>
                <a:gd name="T14" fmla="*/ 51 w 68"/>
                <a:gd name="T15" fmla="*/ 8 h 74"/>
                <a:gd name="T16" fmla="*/ 40 w 68"/>
                <a:gd name="T17" fmla="*/ 0 h 74"/>
                <a:gd name="T18" fmla="*/ 23 w 68"/>
                <a:gd name="T19" fmla="*/ 1 h 74"/>
                <a:gd name="T20" fmla="*/ 1 w 68"/>
                <a:gd name="T21" fmla="*/ 6 h 74"/>
                <a:gd name="T22" fmla="*/ 0 w 68"/>
                <a:gd name="T23" fmla="*/ 19 h 74"/>
                <a:gd name="T24" fmla="*/ 4 w 68"/>
                <a:gd name="T25" fmla="*/ 46 h 74"/>
                <a:gd name="T26" fmla="*/ 22 w 68"/>
                <a:gd name="T27" fmla="*/ 73 h 74"/>
                <a:gd name="T28" fmla="*/ 43 w 68"/>
                <a:gd name="T29" fmla="*/ 7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" h="74">
                  <a:moveTo>
                    <a:pt x="43" y="72"/>
                  </a:moveTo>
                  <a:cubicBezTo>
                    <a:pt x="43" y="72"/>
                    <a:pt x="50" y="71"/>
                    <a:pt x="51" y="69"/>
                  </a:cubicBezTo>
                  <a:cubicBezTo>
                    <a:pt x="53" y="66"/>
                    <a:pt x="61" y="50"/>
                    <a:pt x="62" y="42"/>
                  </a:cubicBezTo>
                  <a:cubicBezTo>
                    <a:pt x="62" y="35"/>
                    <a:pt x="63" y="26"/>
                    <a:pt x="63" y="26"/>
                  </a:cubicBezTo>
                  <a:cubicBezTo>
                    <a:pt x="63" y="26"/>
                    <a:pt x="68" y="24"/>
                    <a:pt x="68" y="21"/>
                  </a:cubicBezTo>
                  <a:cubicBezTo>
                    <a:pt x="68" y="18"/>
                    <a:pt x="66" y="14"/>
                    <a:pt x="64" y="14"/>
                  </a:cubicBezTo>
                  <a:cubicBezTo>
                    <a:pt x="63" y="14"/>
                    <a:pt x="58" y="17"/>
                    <a:pt x="58" y="17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34"/>
                    <a:pt x="4" y="46"/>
                  </a:cubicBezTo>
                  <a:cubicBezTo>
                    <a:pt x="8" y="57"/>
                    <a:pt x="22" y="73"/>
                    <a:pt x="22" y="73"/>
                  </a:cubicBezTo>
                  <a:cubicBezTo>
                    <a:pt x="22" y="73"/>
                    <a:pt x="39" y="74"/>
                    <a:pt x="43" y="72"/>
                  </a:cubicBezTo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sḷíḑe">
              <a:extLst>
                <a:ext uri="{FF2B5EF4-FFF2-40B4-BE49-F238E27FC236}">
                  <a16:creationId xmlns:a16="http://schemas.microsoft.com/office/drawing/2014/main" id="{7596F0D2-37B1-457F-93DB-A391850B170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81700" y="3779838"/>
              <a:ext cx="354013" cy="257175"/>
            </a:xfrm>
            <a:custGeom>
              <a:avLst/>
              <a:gdLst>
                <a:gd name="T0" fmla="*/ 52 w 65"/>
                <a:gd name="T1" fmla="*/ 36 h 47"/>
                <a:gd name="T2" fmla="*/ 54 w 65"/>
                <a:gd name="T3" fmla="*/ 45 h 47"/>
                <a:gd name="T4" fmla="*/ 61 w 65"/>
                <a:gd name="T5" fmla="*/ 44 h 47"/>
                <a:gd name="T6" fmla="*/ 61 w 65"/>
                <a:gd name="T7" fmla="*/ 33 h 47"/>
                <a:gd name="T8" fmla="*/ 65 w 65"/>
                <a:gd name="T9" fmla="*/ 30 h 47"/>
                <a:gd name="T10" fmla="*/ 55 w 65"/>
                <a:gd name="T11" fmla="*/ 7 h 47"/>
                <a:gd name="T12" fmla="*/ 33 w 65"/>
                <a:gd name="T13" fmla="*/ 0 h 47"/>
                <a:gd name="T14" fmla="*/ 8 w 65"/>
                <a:gd name="T15" fmla="*/ 7 h 47"/>
                <a:gd name="T16" fmla="*/ 0 w 65"/>
                <a:gd name="T17" fmla="*/ 26 h 47"/>
                <a:gd name="T18" fmla="*/ 3 w 65"/>
                <a:gd name="T19" fmla="*/ 35 h 47"/>
                <a:gd name="T20" fmla="*/ 12 w 65"/>
                <a:gd name="T21" fmla="*/ 24 h 47"/>
                <a:gd name="T22" fmla="*/ 25 w 65"/>
                <a:gd name="T23" fmla="*/ 26 h 47"/>
                <a:gd name="T24" fmla="*/ 37 w 65"/>
                <a:gd name="T25" fmla="*/ 21 h 47"/>
                <a:gd name="T26" fmla="*/ 52 w 65"/>
                <a:gd name="T2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47">
                  <a:moveTo>
                    <a:pt x="52" y="36"/>
                  </a:moveTo>
                  <a:cubicBezTo>
                    <a:pt x="52" y="36"/>
                    <a:pt x="54" y="45"/>
                    <a:pt x="54" y="45"/>
                  </a:cubicBezTo>
                  <a:cubicBezTo>
                    <a:pt x="56" y="47"/>
                    <a:pt x="61" y="44"/>
                    <a:pt x="61" y="4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5" y="30"/>
                    <a:pt x="60" y="12"/>
                    <a:pt x="55" y="7"/>
                  </a:cubicBezTo>
                  <a:cubicBezTo>
                    <a:pt x="51" y="2"/>
                    <a:pt x="43" y="0"/>
                    <a:pt x="33" y="0"/>
                  </a:cubicBezTo>
                  <a:cubicBezTo>
                    <a:pt x="25" y="0"/>
                    <a:pt x="14" y="4"/>
                    <a:pt x="8" y="7"/>
                  </a:cubicBezTo>
                  <a:cubicBezTo>
                    <a:pt x="2" y="11"/>
                    <a:pt x="0" y="21"/>
                    <a:pt x="0" y="26"/>
                  </a:cubicBezTo>
                  <a:cubicBezTo>
                    <a:pt x="0" y="32"/>
                    <a:pt x="3" y="35"/>
                    <a:pt x="3" y="35"/>
                  </a:cubicBezTo>
                  <a:cubicBezTo>
                    <a:pt x="3" y="35"/>
                    <a:pt x="3" y="26"/>
                    <a:pt x="12" y="24"/>
                  </a:cubicBezTo>
                  <a:cubicBezTo>
                    <a:pt x="20" y="22"/>
                    <a:pt x="25" y="26"/>
                    <a:pt x="25" y="26"/>
                  </a:cubicBezTo>
                  <a:cubicBezTo>
                    <a:pt x="25" y="26"/>
                    <a:pt x="30" y="21"/>
                    <a:pt x="37" y="21"/>
                  </a:cubicBezTo>
                  <a:cubicBezTo>
                    <a:pt x="44" y="20"/>
                    <a:pt x="51" y="26"/>
                    <a:pt x="52" y="36"/>
                  </a:cubicBezTo>
                  <a:close/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ľidê">
              <a:extLst>
                <a:ext uri="{FF2B5EF4-FFF2-40B4-BE49-F238E27FC236}">
                  <a16:creationId xmlns:a16="http://schemas.microsoft.com/office/drawing/2014/main" id="{CD5AFA74-75EE-4AB5-8FC2-9166BB7A6B3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22988" y="4021138"/>
              <a:ext cx="55563" cy="114300"/>
            </a:xfrm>
            <a:custGeom>
              <a:avLst/>
              <a:gdLst>
                <a:gd name="T0" fmla="*/ 0 w 10"/>
                <a:gd name="T1" fmla="*/ 3 h 21"/>
                <a:gd name="T2" fmla="*/ 1 w 10"/>
                <a:gd name="T3" fmla="*/ 17 h 21"/>
                <a:gd name="T4" fmla="*/ 6 w 10"/>
                <a:gd name="T5" fmla="*/ 20 h 21"/>
                <a:gd name="T6" fmla="*/ 6 w 10"/>
                <a:gd name="T7" fmla="*/ 20 h 21"/>
                <a:gd name="T8" fmla="*/ 9 w 10"/>
                <a:gd name="T9" fmla="*/ 15 h 21"/>
                <a:gd name="T10" fmla="*/ 5 w 10"/>
                <a:gd name="T11" fmla="*/ 2 h 21"/>
                <a:gd name="T12" fmla="*/ 0 w 10"/>
                <a:gd name="T1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1">
                  <a:moveTo>
                    <a:pt x="0" y="3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2" y="19"/>
                    <a:pt x="4" y="21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0"/>
                    <a:pt x="10" y="17"/>
                    <a:pt x="9" y="15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0" y="0"/>
                    <a:pt x="0" y="3"/>
                  </a:cubicBezTo>
                  <a:close/>
                </a:path>
              </a:pathLst>
            </a:custGeom>
            <a:solidFill>
              <a:srgbClr val="DD9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şḻîďe">
              <a:extLst>
                <a:ext uri="{FF2B5EF4-FFF2-40B4-BE49-F238E27FC236}">
                  <a16:creationId xmlns:a16="http://schemas.microsoft.com/office/drawing/2014/main" id="{B3D7417A-821E-4481-8C5C-78CE8EA1B0C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00725" y="4102101"/>
              <a:ext cx="458788" cy="627063"/>
            </a:xfrm>
            <a:custGeom>
              <a:avLst/>
              <a:gdLst>
                <a:gd name="T0" fmla="*/ 24 w 84"/>
                <a:gd name="T1" fmla="*/ 115 h 115"/>
                <a:gd name="T2" fmla="*/ 71 w 84"/>
                <a:gd name="T3" fmla="*/ 112 h 115"/>
                <a:gd name="T4" fmla="*/ 83 w 84"/>
                <a:gd name="T5" fmla="*/ 97 h 115"/>
                <a:gd name="T6" fmla="*/ 72 w 84"/>
                <a:gd name="T7" fmla="*/ 11 h 115"/>
                <a:gd name="T8" fmla="*/ 59 w 84"/>
                <a:gd name="T9" fmla="*/ 0 h 115"/>
                <a:gd name="T10" fmla="*/ 12 w 84"/>
                <a:gd name="T11" fmla="*/ 4 h 115"/>
                <a:gd name="T12" fmla="*/ 1 w 84"/>
                <a:gd name="T13" fmla="*/ 18 h 115"/>
                <a:gd name="T14" fmla="*/ 11 w 84"/>
                <a:gd name="T15" fmla="*/ 103 h 115"/>
                <a:gd name="T16" fmla="*/ 24 w 84"/>
                <a:gd name="T1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15">
                  <a:moveTo>
                    <a:pt x="24" y="115"/>
                  </a:moveTo>
                  <a:cubicBezTo>
                    <a:pt x="71" y="112"/>
                    <a:pt x="71" y="112"/>
                    <a:pt x="71" y="112"/>
                  </a:cubicBezTo>
                  <a:cubicBezTo>
                    <a:pt x="78" y="111"/>
                    <a:pt x="84" y="105"/>
                    <a:pt x="83" y="97"/>
                  </a:cubicBezTo>
                  <a:cubicBezTo>
                    <a:pt x="72" y="11"/>
                    <a:pt x="72" y="11"/>
                    <a:pt x="72" y="11"/>
                  </a:cubicBezTo>
                  <a:cubicBezTo>
                    <a:pt x="72" y="5"/>
                    <a:pt x="65" y="0"/>
                    <a:pt x="59" y="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5" y="4"/>
                    <a:pt x="0" y="11"/>
                    <a:pt x="1" y="18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1" y="110"/>
                    <a:pt x="17" y="115"/>
                    <a:pt x="24" y="115"/>
                  </a:cubicBezTo>
                </a:path>
              </a:pathLst>
            </a:custGeom>
            <a:solidFill>
              <a:srgbClr val="B9BE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ṡliḓe">
              <a:extLst>
                <a:ext uri="{FF2B5EF4-FFF2-40B4-BE49-F238E27FC236}">
                  <a16:creationId xmlns:a16="http://schemas.microsoft.com/office/drawing/2014/main" id="{864929DF-CDFE-4B4B-98B7-E9D65F2E86A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38825" y="4162426"/>
              <a:ext cx="360363" cy="490538"/>
            </a:xfrm>
            <a:custGeom>
              <a:avLst/>
              <a:gdLst>
                <a:gd name="T0" fmla="*/ 47 w 66"/>
                <a:gd name="T1" fmla="*/ 0 h 90"/>
                <a:gd name="T2" fmla="*/ 46 w 66"/>
                <a:gd name="T3" fmla="*/ 0 h 90"/>
                <a:gd name="T4" fmla="*/ 10 w 66"/>
                <a:gd name="T5" fmla="*/ 3 h 90"/>
                <a:gd name="T6" fmla="*/ 1 w 66"/>
                <a:gd name="T7" fmla="*/ 14 h 90"/>
                <a:gd name="T8" fmla="*/ 3 w 66"/>
                <a:gd name="T9" fmla="*/ 34 h 90"/>
                <a:gd name="T10" fmla="*/ 17 w 66"/>
                <a:gd name="T11" fmla="*/ 24 h 90"/>
                <a:gd name="T12" fmla="*/ 17 w 66"/>
                <a:gd name="T13" fmla="*/ 24 h 90"/>
                <a:gd name="T14" fmla="*/ 28 w 66"/>
                <a:gd name="T15" fmla="*/ 32 h 90"/>
                <a:gd name="T16" fmla="*/ 28 w 66"/>
                <a:gd name="T17" fmla="*/ 42 h 90"/>
                <a:gd name="T18" fmla="*/ 8 w 66"/>
                <a:gd name="T19" fmla="*/ 76 h 90"/>
                <a:gd name="T20" fmla="*/ 9 w 66"/>
                <a:gd name="T21" fmla="*/ 81 h 90"/>
                <a:gd name="T22" fmla="*/ 19 w 66"/>
                <a:gd name="T23" fmla="*/ 90 h 90"/>
                <a:gd name="T24" fmla="*/ 19 w 66"/>
                <a:gd name="T25" fmla="*/ 90 h 90"/>
                <a:gd name="T26" fmla="*/ 56 w 66"/>
                <a:gd name="T27" fmla="*/ 87 h 90"/>
                <a:gd name="T28" fmla="*/ 65 w 66"/>
                <a:gd name="T29" fmla="*/ 76 h 90"/>
                <a:gd name="T30" fmla="*/ 57 w 66"/>
                <a:gd name="T31" fmla="*/ 9 h 90"/>
                <a:gd name="T32" fmla="*/ 47 w 66"/>
                <a:gd name="T3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90">
                  <a:moveTo>
                    <a:pt x="47" y="0"/>
                  </a:moveTo>
                  <a:cubicBezTo>
                    <a:pt x="47" y="0"/>
                    <a:pt x="47" y="0"/>
                    <a:pt x="46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5" y="3"/>
                    <a:pt x="0" y="8"/>
                    <a:pt x="1" y="1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8" y="30"/>
                    <a:pt x="15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21" y="24"/>
                    <a:pt x="26" y="29"/>
                    <a:pt x="28" y="32"/>
                  </a:cubicBezTo>
                  <a:cubicBezTo>
                    <a:pt x="29" y="34"/>
                    <a:pt x="29" y="38"/>
                    <a:pt x="28" y="42"/>
                  </a:cubicBezTo>
                  <a:cubicBezTo>
                    <a:pt x="32" y="54"/>
                    <a:pt x="17" y="69"/>
                    <a:pt x="8" y="76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86"/>
                    <a:pt x="14" y="90"/>
                    <a:pt x="19" y="90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87"/>
                    <a:pt x="66" y="82"/>
                    <a:pt x="65" y="76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4"/>
                    <a:pt x="52" y="0"/>
                    <a:pt x="47" y="0"/>
                  </a:cubicBezTo>
                </a:path>
              </a:pathLst>
            </a:custGeom>
            <a:solidFill>
              <a:srgbClr val="9EA2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ṡļîḋê">
              <a:extLst>
                <a:ext uri="{FF2B5EF4-FFF2-40B4-BE49-F238E27FC236}">
                  <a16:creationId xmlns:a16="http://schemas.microsoft.com/office/drawing/2014/main" id="{3E2DC5D9-EF10-481B-AB93-8BE82A3E12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45175" y="4538663"/>
              <a:ext cx="4763" cy="60325"/>
            </a:xfrm>
            <a:custGeom>
              <a:avLst/>
              <a:gdLst>
                <a:gd name="T0" fmla="*/ 0 w 1"/>
                <a:gd name="T1" fmla="*/ 0 h 11"/>
                <a:gd name="T2" fmla="*/ 0 w 1"/>
                <a:gd name="T3" fmla="*/ 0 h 11"/>
                <a:gd name="T4" fmla="*/ 1 w 1"/>
                <a:gd name="T5" fmla="*/ 11 h 11"/>
                <a:gd name="T6" fmla="*/ 1 w 1"/>
                <a:gd name="T7" fmla="*/ 11 h 11"/>
                <a:gd name="T8" fmla="*/ 0 w 1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Slïḑé">
              <a:extLst>
                <a:ext uri="{FF2B5EF4-FFF2-40B4-BE49-F238E27FC236}">
                  <a16:creationId xmlns:a16="http://schemas.microsoft.com/office/drawing/2014/main" id="{FAA3F3F9-F75E-4B9D-BAF0-639471AF728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45175" y="4511676"/>
              <a:ext cx="38100" cy="87313"/>
            </a:xfrm>
            <a:custGeom>
              <a:avLst/>
              <a:gdLst>
                <a:gd name="T0" fmla="*/ 6 w 7"/>
                <a:gd name="T1" fmla="*/ 0 h 16"/>
                <a:gd name="T2" fmla="*/ 0 w 7"/>
                <a:gd name="T3" fmla="*/ 5 h 16"/>
                <a:gd name="T4" fmla="*/ 1 w 7"/>
                <a:gd name="T5" fmla="*/ 16 h 16"/>
                <a:gd name="T6" fmla="*/ 7 w 7"/>
                <a:gd name="T7" fmla="*/ 12 h 16"/>
                <a:gd name="T8" fmla="*/ 6 w 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6">
                  <a:moveTo>
                    <a:pt x="6" y="0"/>
                  </a:moveTo>
                  <a:cubicBezTo>
                    <a:pt x="4" y="2"/>
                    <a:pt x="2" y="4"/>
                    <a:pt x="0" y="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4" y="14"/>
                    <a:pt x="7" y="12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9EA2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šliḓe">
              <a:extLst>
                <a:ext uri="{FF2B5EF4-FFF2-40B4-BE49-F238E27FC236}">
                  <a16:creationId xmlns:a16="http://schemas.microsoft.com/office/drawing/2014/main" id="{C714F29C-372B-4980-8BEF-6E10F71592A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76925" y="4391026"/>
              <a:ext cx="136525" cy="185738"/>
            </a:xfrm>
            <a:custGeom>
              <a:avLst/>
              <a:gdLst>
                <a:gd name="T0" fmla="*/ 21 w 25"/>
                <a:gd name="T1" fmla="*/ 0 h 34"/>
                <a:gd name="T2" fmla="*/ 19 w 25"/>
                <a:gd name="T3" fmla="*/ 4 h 34"/>
                <a:gd name="T4" fmla="*/ 0 w 25"/>
                <a:gd name="T5" fmla="*/ 22 h 34"/>
                <a:gd name="T6" fmla="*/ 1 w 25"/>
                <a:gd name="T7" fmla="*/ 34 h 34"/>
                <a:gd name="T8" fmla="*/ 21 w 25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4">
                  <a:moveTo>
                    <a:pt x="21" y="0"/>
                  </a:moveTo>
                  <a:cubicBezTo>
                    <a:pt x="20" y="1"/>
                    <a:pt x="20" y="3"/>
                    <a:pt x="19" y="4"/>
                  </a:cubicBezTo>
                  <a:cubicBezTo>
                    <a:pt x="17" y="7"/>
                    <a:pt x="8" y="15"/>
                    <a:pt x="0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0" y="27"/>
                    <a:pt x="25" y="12"/>
                    <a:pt x="21" y="0"/>
                  </a:cubicBezTo>
                </a:path>
              </a:pathLst>
            </a:custGeom>
            <a:solidFill>
              <a:srgbClr val="888B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ṧľíďe">
              <a:extLst>
                <a:ext uri="{FF2B5EF4-FFF2-40B4-BE49-F238E27FC236}">
                  <a16:creationId xmlns:a16="http://schemas.microsoft.com/office/drawing/2014/main" id="{722CBCD2-B0F4-407A-ABC5-9F8B18AE1F6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19763" y="4294188"/>
              <a:ext cx="284163" cy="288925"/>
            </a:xfrm>
            <a:custGeom>
              <a:avLst/>
              <a:gdLst>
                <a:gd name="T0" fmla="*/ 19 w 52"/>
                <a:gd name="T1" fmla="*/ 15 h 53"/>
                <a:gd name="T2" fmla="*/ 18 w 52"/>
                <a:gd name="T3" fmla="*/ 7 h 53"/>
                <a:gd name="T4" fmla="*/ 8 w 52"/>
                <a:gd name="T5" fmla="*/ 19 h 53"/>
                <a:gd name="T6" fmla="*/ 3 w 52"/>
                <a:gd name="T7" fmla="*/ 44 h 53"/>
                <a:gd name="T8" fmla="*/ 14 w 52"/>
                <a:gd name="T9" fmla="*/ 52 h 53"/>
                <a:gd name="T10" fmla="*/ 48 w 52"/>
                <a:gd name="T11" fmla="*/ 22 h 53"/>
                <a:gd name="T12" fmla="*/ 50 w 52"/>
                <a:gd name="T13" fmla="*/ 8 h 53"/>
                <a:gd name="T14" fmla="*/ 39 w 52"/>
                <a:gd name="T15" fmla="*/ 0 h 53"/>
                <a:gd name="T16" fmla="*/ 19 w 52"/>
                <a:gd name="T17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3">
                  <a:moveTo>
                    <a:pt x="19" y="15"/>
                  </a:move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1" y="16"/>
                    <a:pt x="8" y="19"/>
                  </a:cubicBezTo>
                  <a:cubicBezTo>
                    <a:pt x="4" y="23"/>
                    <a:pt x="0" y="40"/>
                    <a:pt x="3" y="44"/>
                  </a:cubicBezTo>
                  <a:cubicBezTo>
                    <a:pt x="6" y="47"/>
                    <a:pt x="10" y="53"/>
                    <a:pt x="14" y="52"/>
                  </a:cubicBezTo>
                  <a:cubicBezTo>
                    <a:pt x="18" y="50"/>
                    <a:pt x="45" y="27"/>
                    <a:pt x="48" y="22"/>
                  </a:cubicBezTo>
                  <a:cubicBezTo>
                    <a:pt x="51" y="17"/>
                    <a:pt x="52" y="11"/>
                    <a:pt x="50" y="8"/>
                  </a:cubicBezTo>
                  <a:cubicBezTo>
                    <a:pt x="48" y="4"/>
                    <a:pt x="42" y="0"/>
                    <a:pt x="39" y="0"/>
                  </a:cubicBezTo>
                  <a:cubicBezTo>
                    <a:pt x="35" y="1"/>
                    <a:pt x="19" y="15"/>
                    <a:pt x="19" y="15"/>
                  </a:cubicBezTo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îṧḷïdé">
              <a:extLst>
                <a:ext uri="{FF2B5EF4-FFF2-40B4-BE49-F238E27FC236}">
                  <a16:creationId xmlns:a16="http://schemas.microsoft.com/office/drawing/2014/main" id="{72D45B82-2E1D-4893-B409-9CA642053C5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97500" y="4500563"/>
              <a:ext cx="889000" cy="906463"/>
            </a:xfrm>
            <a:custGeom>
              <a:avLst/>
              <a:gdLst>
                <a:gd name="T0" fmla="*/ 151 w 163"/>
                <a:gd name="T1" fmla="*/ 71 h 166"/>
                <a:gd name="T2" fmla="*/ 121 w 163"/>
                <a:gd name="T3" fmla="*/ 73 h 166"/>
                <a:gd name="T4" fmla="*/ 118 w 163"/>
                <a:gd name="T5" fmla="*/ 73 h 166"/>
                <a:gd name="T6" fmla="*/ 111 w 163"/>
                <a:gd name="T7" fmla="*/ 70 h 166"/>
                <a:gd name="T8" fmla="*/ 67 w 163"/>
                <a:gd name="T9" fmla="*/ 11 h 166"/>
                <a:gd name="T10" fmla="*/ 38 w 163"/>
                <a:gd name="T11" fmla="*/ 1 h 166"/>
                <a:gd name="T12" fmla="*/ 13 w 163"/>
                <a:gd name="T13" fmla="*/ 6 h 166"/>
                <a:gd name="T14" fmla="*/ 1 w 163"/>
                <a:gd name="T15" fmla="*/ 41 h 166"/>
                <a:gd name="T16" fmla="*/ 30 w 163"/>
                <a:gd name="T17" fmla="*/ 160 h 166"/>
                <a:gd name="T18" fmla="*/ 54 w 163"/>
                <a:gd name="T19" fmla="*/ 157 h 166"/>
                <a:gd name="T20" fmla="*/ 49 w 163"/>
                <a:gd name="T21" fmla="*/ 56 h 166"/>
                <a:gd name="T22" fmla="*/ 87 w 163"/>
                <a:gd name="T23" fmla="*/ 113 h 166"/>
                <a:gd name="T24" fmla="*/ 134 w 163"/>
                <a:gd name="T25" fmla="*/ 126 h 166"/>
                <a:gd name="T26" fmla="*/ 148 w 163"/>
                <a:gd name="T27" fmla="*/ 127 h 166"/>
                <a:gd name="T28" fmla="*/ 160 w 163"/>
                <a:gd name="T29" fmla="*/ 128 h 166"/>
                <a:gd name="T30" fmla="*/ 151 w 163"/>
                <a:gd name="T31" fmla="*/ 7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3" h="166">
                  <a:moveTo>
                    <a:pt x="151" y="71"/>
                  </a:moveTo>
                  <a:cubicBezTo>
                    <a:pt x="151" y="71"/>
                    <a:pt x="127" y="73"/>
                    <a:pt x="121" y="73"/>
                  </a:cubicBezTo>
                  <a:cubicBezTo>
                    <a:pt x="120" y="72"/>
                    <a:pt x="119" y="72"/>
                    <a:pt x="118" y="73"/>
                  </a:cubicBezTo>
                  <a:cubicBezTo>
                    <a:pt x="115" y="73"/>
                    <a:pt x="114" y="73"/>
                    <a:pt x="111" y="70"/>
                  </a:cubicBezTo>
                  <a:cubicBezTo>
                    <a:pt x="106" y="65"/>
                    <a:pt x="71" y="16"/>
                    <a:pt x="67" y="11"/>
                  </a:cubicBezTo>
                  <a:cubicBezTo>
                    <a:pt x="62" y="7"/>
                    <a:pt x="46" y="2"/>
                    <a:pt x="38" y="1"/>
                  </a:cubicBezTo>
                  <a:cubicBezTo>
                    <a:pt x="30" y="0"/>
                    <a:pt x="15" y="5"/>
                    <a:pt x="13" y="6"/>
                  </a:cubicBezTo>
                  <a:cubicBezTo>
                    <a:pt x="5" y="9"/>
                    <a:pt x="0" y="30"/>
                    <a:pt x="1" y="41"/>
                  </a:cubicBezTo>
                  <a:cubicBezTo>
                    <a:pt x="1" y="48"/>
                    <a:pt x="28" y="154"/>
                    <a:pt x="30" y="160"/>
                  </a:cubicBezTo>
                  <a:cubicBezTo>
                    <a:pt x="30" y="160"/>
                    <a:pt x="42" y="166"/>
                    <a:pt x="54" y="157"/>
                  </a:cubicBezTo>
                  <a:cubicBezTo>
                    <a:pt x="54" y="157"/>
                    <a:pt x="52" y="66"/>
                    <a:pt x="49" y="56"/>
                  </a:cubicBezTo>
                  <a:cubicBezTo>
                    <a:pt x="49" y="56"/>
                    <a:pt x="67" y="93"/>
                    <a:pt x="87" y="113"/>
                  </a:cubicBezTo>
                  <a:cubicBezTo>
                    <a:pt x="107" y="133"/>
                    <a:pt x="127" y="127"/>
                    <a:pt x="134" y="126"/>
                  </a:cubicBezTo>
                  <a:cubicBezTo>
                    <a:pt x="138" y="126"/>
                    <a:pt x="143" y="126"/>
                    <a:pt x="148" y="127"/>
                  </a:cubicBezTo>
                  <a:cubicBezTo>
                    <a:pt x="154" y="127"/>
                    <a:pt x="158" y="128"/>
                    <a:pt x="160" y="128"/>
                  </a:cubicBezTo>
                  <a:cubicBezTo>
                    <a:pt x="163" y="127"/>
                    <a:pt x="151" y="71"/>
                    <a:pt x="151" y="71"/>
                  </a:cubicBezTo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ṧľîḓè">
              <a:extLst>
                <a:ext uri="{FF2B5EF4-FFF2-40B4-BE49-F238E27FC236}">
                  <a16:creationId xmlns:a16="http://schemas.microsoft.com/office/drawing/2014/main" id="{45755CCD-DB11-426D-9A2E-AF72325F4A6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24488" y="5357813"/>
              <a:ext cx="333375" cy="342900"/>
            </a:xfrm>
            <a:custGeom>
              <a:avLst/>
              <a:gdLst>
                <a:gd name="T0" fmla="*/ 25 w 61"/>
                <a:gd name="T1" fmla="*/ 3 h 63"/>
                <a:gd name="T2" fmla="*/ 16 w 61"/>
                <a:gd name="T3" fmla="*/ 25 h 63"/>
                <a:gd name="T4" fmla="*/ 4 w 61"/>
                <a:gd name="T5" fmla="*/ 50 h 63"/>
                <a:gd name="T6" fmla="*/ 5 w 61"/>
                <a:gd name="T7" fmla="*/ 59 h 63"/>
                <a:gd name="T8" fmla="*/ 18 w 61"/>
                <a:gd name="T9" fmla="*/ 61 h 63"/>
                <a:gd name="T10" fmla="*/ 39 w 61"/>
                <a:gd name="T11" fmla="*/ 41 h 63"/>
                <a:gd name="T12" fmla="*/ 52 w 61"/>
                <a:gd name="T13" fmla="*/ 31 h 63"/>
                <a:gd name="T14" fmla="*/ 61 w 61"/>
                <a:gd name="T15" fmla="*/ 26 h 63"/>
                <a:gd name="T16" fmla="*/ 57 w 61"/>
                <a:gd name="T17" fmla="*/ 10 h 63"/>
                <a:gd name="T18" fmla="*/ 49 w 61"/>
                <a:gd name="T19" fmla="*/ 0 h 63"/>
                <a:gd name="T20" fmla="*/ 25 w 61"/>
                <a:gd name="T21" fmla="*/ 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3">
                  <a:moveTo>
                    <a:pt x="25" y="3"/>
                  </a:moveTo>
                  <a:cubicBezTo>
                    <a:pt x="25" y="3"/>
                    <a:pt x="19" y="18"/>
                    <a:pt x="16" y="25"/>
                  </a:cubicBezTo>
                  <a:cubicBezTo>
                    <a:pt x="12" y="32"/>
                    <a:pt x="7" y="47"/>
                    <a:pt x="4" y="50"/>
                  </a:cubicBezTo>
                  <a:cubicBezTo>
                    <a:pt x="2" y="53"/>
                    <a:pt x="0" y="55"/>
                    <a:pt x="5" y="59"/>
                  </a:cubicBezTo>
                  <a:cubicBezTo>
                    <a:pt x="11" y="63"/>
                    <a:pt x="16" y="62"/>
                    <a:pt x="18" y="61"/>
                  </a:cubicBezTo>
                  <a:cubicBezTo>
                    <a:pt x="21" y="60"/>
                    <a:pt x="33" y="46"/>
                    <a:pt x="39" y="41"/>
                  </a:cubicBezTo>
                  <a:cubicBezTo>
                    <a:pt x="46" y="37"/>
                    <a:pt x="52" y="31"/>
                    <a:pt x="52" y="31"/>
                  </a:cubicBezTo>
                  <a:cubicBezTo>
                    <a:pt x="52" y="31"/>
                    <a:pt x="60" y="30"/>
                    <a:pt x="61" y="26"/>
                  </a:cubicBezTo>
                  <a:cubicBezTo>
                    <a:pt x="61" y="23"/>
                    <a:pt x="58" y="13"/>
                    <a:pt x="57" y="10"/>
                  </a:cubicBezTo>
                  <a:cubicBezTo>
                    <a:pt x="57" y="7"/>
                    <a:pt x="49" y="0"/>
                    <a:pt x="49" y="0"/>
                  </a:cubicBezTo>
                  <a:cubicBezTo>
                    <a:pt x="25" y="3"/>
                    <a:pt x="25" y="3"/>
                    <a:pt x="25" y="3"/>
                  </a:cubicBezTo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sḻíďê">
              <a:extLst>
                <a:ext uri="{FF2B5EF4-FFF2-40B4-BE49-F238E27FC236}">
                  <a16:creationId xmlns:a16="http://schemas.microsoft.com/office/drawing/2014/main" id="{3ECD9FDE-BF18-460A-96BB-C5E4AFB207C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11800" y="5357813"/>
              <a:ext cx="179388" cy="136525"/>
            </a:xfrm>
            <a:custGeom>
              <a:avLst/>
              <a:gdLst>
                <a:gd name="T0" fmla="*/ 33 w 33"/>
                <a:gd name="T1" fmla="*/ 0 h 25"/>
                <a:gd name="T2" fmla="*/ 9 w 33"/>
                <a:gd name="T3" fmla="*/ 3 h 25"/>
                <a:gd name="T4" fmla="*/ 0 w 33"/>
                <a:gd name="T5" fmla="*/ 25 h 25"/>
                <a:gd name="T6" fmla="*/ 32 w 33"/>
                <a:gd name="T7" fmla="*/ 4 h 25"/>
                <a:gd name="T8" fmla="*/ 33 w 3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5">
                  <a:moveTo>
                    <a:pt x="33" y="0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3" y="18"/>
                    <a:pt x="0" y="25"/>
                  </a:cubicBezTo>
                  <a:cubicBezTo>
                    <a:pt x="0" y="25"/>
                    <a:pt x="20" y="22"/>
                    <a:pt x="32" y="4"/>
                  </a:cubicBezTo>
                  <a:cubicBezTo>
                    <a:pt x="33" y="0"/>
                    <a:pt x="33" y="0"/>
                    <a:pt x="33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îṧľiḋe">
              <a:extLst>
                <a:ext uri="{FF2B5EF4-FFF2-40B4-BE49-F238E27FC236}">
                  <a16:creationId xmlns:a16="http://schemas.microsoft.com/office/drawing/2014/main" id="{DE1FE297-32BC-486C-92AE-F671AA33CE6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08725" y="5362576"/>
              <a:ext cx="387350" cy="277813"/>
            </a:xfrm>
            <a:custGeom>
              <a:avLst/>
              <a:gdLst>
                <a:gd name="T0" fmla="*/ 1 w 71"/>
                <a:gd name="T1" fmla="*/ 0 h 51"/>
                <a:gd name="T2" fmla="*/ 0 w 71"/>
                <a:gd name="T3" fmla="*/ 6 h 51"/>
                <a:gd name="T4" fmla="*/ 0 w 71"/>
                <a:gd name="T5" fmla="*/ 16 h 51"/>
                <a:gd name="T6" fmla="*/ 2 w 71"/>
                <a:gd name="T7" fmla="*/ 29 h 51"/>
                <a:gd name="T8" fmla="*/ 18 w 71"/>
                <a:gd name="T9" fmla="*/ 31 h 51"/>
                <a:gd name="T10" fmla="*/ 21 w 71"/>
                <a:gd name="T11" fmla="*/ 30 h 51"/>
                <a:gd name="T12" fmla="*/ 35 w 71"/>
                <a:gd name="T13" fmla="*/ 43 h 51"/>
                <a:gd name="T14" fmla="*/ 65 w 71"/>
                <a:gd name="T15" fmla="*/ 50 h 51"/>
                <a:gd name="T16" fmla="*/ 71 w 71"/>
                <a:gd name="T17" fmla="*/ 43 h 51"/>
                <a:gd name="T18" fmla="*/ 51 w 71"/>
                <a:gd name="T19" fmla="*/ 23 h 51"/>
                <a:gd name="T20" fmla="*/ 39 w 71"/>
                <a:gd name="T21" fmla="*/ 11 h 51"/>
                <a:gd name="T22" fmla="*/ 27 w 71"/>
                <a:gd name="T23" fmla="*/ 1 h 51"/>
                <a:gd name="T24" fmla="*/ 1 w 71"/>
                <a:gd name="T2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" h="51">
                  <a:moveTo>
                    <a:pt x="1" y="0"/>
                  </a:moveTo>
                  <a:cubicBezTo>
                    <a:pt x="1" y="0"/>
                    <a:pt x="1" y="3"/>
                    <a:pt x="0" y="6"/>
                  </a:cubicBezTo>
                  <a:cubicBezTo>
                    <a:pt x="0" y="9"/>
                    <a:pt x="0" y="13"/>
                    <a:pt x="0" y="16"/>
                  </a:cubicBezTo>
                  <a:cubicBezTo>
                    <a:pt x="0" y="21"/>
                    <a:pt x="0" y="29"/>
                    <a:pt x="2" y="29"/>
                  </a:cubicBezTo>
                  <a:cubicBezTo>
                    <a:pt x="4" y="29"/>
                    <a:pt x="14" y="32"/>
                    <a:pt x="18" y="31"/>
                  </a:cubicBezTo>
                  <a:cubicBezTo>
                    <a:pt x="21" y="30"/>
                    <a:pt x="17" y="30"/>
                    <a:pt x="21" y="30"/>
                  </a:cubicBezTo>
                  <a:cubicBezTo>
                    <a:pt x="24" y="31"/>
                    <a:pt x="31" y="39"/>
                    <a:pt x="35" y="43"/>
                  </a:cubicBezTo>
                  <a:cubicBezTo>
                    <a:pt x="38" y="47"/>
                    <a:pt x="61" y="51"/>
                    <a:pt x="65" y="50"/>
                  </a:cubicBezTo>
                  <a:cubicBezTo>
                    <a:pt x="68" y="48"/>
                    <a:pt x="71" y="45"/>
                    <a:pt x="71" y="43"/>
                  </a:cubicBezTo>
                  <a:cubicBezTo>
                    <a:pt x="71" y="41"/>
                    <a:pt x="60" y="35"/>
                    <a:pt x="51" y="23"/>
                  </a:cubicBezTo>
                  <a:cubicBezTo>
                    <a:pt x="47" y="19"/>
                    <a:pt x="43" y="15"/>
                    <a:pt x="39" y="11"/>
                  </a:cubicBezTo>
                  <a:cubicBezTo>
                    <a:pt x="33" y="5"/>
                    <a:pt x="27" y="1"/>
                    <a:pt x="27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E7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šļiḑê">
              <a:extLst>
                <a:ext uri="{FF2B5EF4-FFF2-40B4-BE49-F238E27FC236}">
                  <a16:creationId xmlns:a16="http://schemas.microsoft.com/office/drawing/2014/main" id="{98935F51-B8C7-452D-BEFE-6111C329A4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08725" y="5362576"/>
              <a:ext cx="212725" cy="65088"/>
            </a:xfrm>
            <a:custGeom>
              <a:avLst/>
              <a:gdLst>
                <a:gd name="T0" fmla="*/ 1 w 39"/>
                <a:gd name="T1" fmla="*/ 0 h 12"/>
                <a:gd name="T2" fmla="*/ 0 w 39"/>
                <a:gd name="T3" fmla="*/ 6 h 12"/>
                <a:gd name="T4" fmla="*/ 27 w 39"/>
                <a:gd name="T5" fmla="*/ 12 h 12"/>
                <a:gd name="T6" fmla="*/ 37 w 39"/>
                <a:gd name="T7" fmla="*/ 12 h 12"/>
                <a:gd name="T8" fmla="*/ 39 w 39"/>
                <a:gd name="T9" fmla="*/ 11 h 12"/>
                <a:gd name="T10" fmla="*/ 29 w 39"/>
                <a:gd name="T11" fmla="*/ 3 h 12"/>
                <a:gd name="T12" fmla="*/ 18 w 39"/>
                <a:gd name="T13" fmla="*/ 6 h 12"/>
                <a:gd name="T14" fmla="*/ 1 w 39"/>
                <a:gd name="T15" fmla="*/ 0 h 12"/>
                <a:gd name="T16" fmla="*/ 1 w 3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12">
                  <a:moveTo>
                    <a:pt x="1" y="0"/>
                  </a:moveTo>
                  <a:cubicBezTo>
                    <a:pt x="1" y="0"/>
                    <a:pt x="1" y="3"/>
                    <a:pt x="0" y="6"/>
                  </a:cubicBezTo>
                  <a:cubicBezTo>
                    <a:pt x="0" y="6"/>
                    <a:pt x="11" y="12"/>
                    <a:pt x="27" y="12"/>
                  </a:cubicBezTo>
                  <a:cubicBezTo>
                    <a:pt x="30" y="12"/>
                    <a:pt x="34" y="12"/>
                    <a:pt x="37" y="1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5" y="7"/>
                    <a:pt x="31" y="5"/>
                    <a:pt x="29" y="3"/>
                  </a:cubicBezTo>
                  <a:cubicBezTo>
                    <a:pt x="25" y="5"/>
                    <a:pt x="22" y="6"/>
                    <a:pt x="18" y="6"/>
                  </a:cubicBezTo>
                  <a:cubicBezTo>
                    <a:pt x="8" y="6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06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$ľîdé">
              <a:extLst>
                <a:ext uri="{FF2B5EF4-FFF2-40B4-BE49-F238E27FC236}">
                  <a16:creationId xmlns:a16="http://schemas.microsoft.com/office/drawing/2014/main" id="{64C9C587-734E-4E3B-B9CD-7D307AFBEF0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88075" y="4648201"/>
              <a:ext cx="312738" cy="774700"/>
            </a:xfrm>
            <a:custGeom>
              <a:avLst/>
              <a:gdLst>
                <a:gd name="T0" fmla="*/ 20 w 57"/>
                <a:gd name="T1" fmla="*/ 2 h 142"/>
                <a:gd name="T2" fmla="*/ 7 w 57"/>
                <a:gd name="T3" fmla="*/ 4 h 142"/>
                <a:gd name="T4" fmla="*/ 0 w 57"/>
                <a:gd name="T5" fmla="*/ 28 h 142"/>
                <a:gd name="T6" fmla="*/ 23 w 57"/>
                <a:gd name="T7" fmla="*/ 131 h 142"/>
                <a:gd name="T8" fmla="*/ 51 w 57"/>
                <a:gd name="T9" fmla="*/ 134 h 142"/>
                <a:gd name="T10" fmla="*/ 51 w 57"/>
                <a:gd name="T11" fmla="*/ 103 h 142"/>
                <a:gd name="T12" fmla="*/ 57 w 57"/>
                <a:gd name="T13" fmla="*/ 39 h 142"/>
                <a:gd name="T14" fmla="*/ 35 w 57"/>
                <a:gd name="T15" fmla="*/ 1 h 142"/>
                <a:gd name="T16" fmla="*/ 20 w 57"/>
                <a:gd name="T17" fmla="*/ 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142">
                  <a:moveTo>
                    <a:pt x="20" y="2"/>
                  </a:moveTo>
                  <a:cubicBezTo>
                    <a:pt x="20" y="2"/>
                    <a:pt x="12" y="2"/>
                    <a:pt x="7" y="4"/>
                  </a:cubicBezTo>
                  <a:cubicBezTo>
                    <a:pt x="3" y="6"/>
                    <a:pt x="0" y="19"/>
                    <a:pt x="0" y="28"/>
                  </a:cubicBezTo>
                  <a:cubicBezTo>
                    <a:pt x="0" y="37"/>
                    <a:pt x="13" y="108"/>
                    <a:pt x="23" y="131"/>
                  </a:cubicBezTo>
                  <a:cubicBezTo>
                    <a:pt x="23" y="131"/>
                    <a:pt x="37" y="142"/>
                    <a:pt x="51" y="134"/>
                  </a:cubicBezTo>
                  <a:cubicBezTo>
                    <a:pt x="51" y="134"/>
                    <a:pt x="50" y="112"/>
                    <a:pt x="51" y="103"/>
                  </a:cubicBezTo>
                  <a:cubicBezTo>
                    <a:pt x="53" y="93"/>
                    <a:pt x="57" y="50"/>
                    <a:pt x="57" y="39"/>
                  </a:cubicBezTo>
                  <a:cubicBezTo>
                    <a:pt x="57" y="28"/>
                    <a:pt x="45" y="2"/>
                    <a:pt x="35" y="1"/>
                  </a:cubicBezTo>
                  <a:cubicBezTo>
                    <a:pt x="26" y="0"/>
                    <a:pt x="23" y="1"/>
                    <a:pt x="20" y="2"/>
                  </a:cubicBezTo>
                </a:path>
              </a:pathLst>
            </a:custGeom>
            <a:solidFill>
              <a:srgbClr val="1A38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ṡḻîḍé">
              <a:extLst>
                <a:ext uri="{FF2B5EF4-FFF2-40B4-BE49-F238E27FC236}">
                  <a16:creationId xmlns:a16="http://schemas.microsoft.com/office/drawing/2014/main" id="{D329EFE6-4594-4E88-8F71-1DF1E489CDD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10300" y="4314826"/>
              <a:ext cx="454025" cy="638175"/>
            </a:xfrm>
            <a:custGeom>
              <a:avLst/>
              <a:gdLst>
                <a:gd name="T0" fmla="*/ 0 w 83"/>
                <a:gd name="T1" fmla="*/ 0 h 117"/>
                <a:gd name="T2" fmla="*/ 8 w 83"/>
                <a:gd name="T3" fmla="*/ 7 h 117"/>
                <a:gd name="T4" fmla="*/ 21 w 83"/>
                <a:gd name="T5" fmla="*/ 5 h 117"/>
                <a:gd name="T6" fmla="*/ 34 w 83"/>
                <a:gd name="T7" fmla="*/ 26 h 117"/>
                <a:gd name="T8" fmla="*/ 38 w 83"/>
                <a:gd name="T9" fmla="*/ 42 h 117"/>
                <a:gd name="T10" fmla="*/ 71 w 83"/>
                <a:gd name="T11" fmla="*/ 74 h 117"/>
                <a:gd name="T12" fmla="*/ 76 w 83"/>
                <a:gd name="T13" fmla="*/ 104 h 117"/>
                <a:gd name="T14" fmla="*/ 55 w 83"/>
                <a:gd name="T15" fmla="*/ 114 h 117"/>
                <a:gd name="T16" fmla="*/ 39 w 83"/>
                <a:gd name="T17" fmla="*/ 88 h 117"/>
                <a:gd name="T18" fmla="*/ 22 w 83"/>
                <a:gd name="T19" fmla="*/ 41 h 117"/>
                <a:gd name="T20" fmla="*/ 11 w 83"/>
                <a:gd name="T21" fmla="*/ 28 h 117"/>
                <a:gd name="T22" fmla="*/ 4 w 83"/>
                <a:gd name="T23" fmla="*/ 31 h 117"/>
                <a:gd name="T24" fmla="*/ 0 w 83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117">
                  <a:moveTo>
                    <a:pt x="0" y="0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16" y="3"/>
                    <a:pt x="21" y="5"/>
                  </a:cubicBezTo>
                  <a:cubicBezTo>
                    <a:pt x="26" y="7"/>
                    <a:pt x="33" y="21"/>
                    <a:pt x="34" y="26"/>
                  </a:cubicBezTo>
                  <a:cubicBezTo>
                    <a:pt x="36" y="30"/>
                    <a:pt x="36" y="38"/>
                    <a:pt x="38" y="42"/>
                  </a:cubicBezTo>
                  <a:cubicBezTo>
                    <a:pt x="40" y="45"/>
                    <a:pt x="69" y="70"/>
                    <a:pt x="71" y="74"/>
                  </a:cubicBezTo>
                  <a:cubicBezTo>
                    <a:pt x="74" y="79"/>
                    <a:pt x="83" y="96"/>
                    <a:pt x="76" y="104"/>
                  </a:cubicBezTo>
                  <a:cubicBezTo>
                    <a:pt x="70" y="112"/>
                    <a:pt x="61" y="117"/>
                    <a:pt x="55" y="114"/>
                  </a:cubicBezTo>
                  <a:cubicBezTo>
                    <a:pt x="49" y="111"/>
                    <a:pt x="42" y="102"/>
                    <a:pt x="39" y="88"/>
                  </a:cubicBezTo>
                  <a:cubicBezTo>
                    <a:pt x="36" y="75"/>
                    <a:pt x="25" y="45"/>
                    <a:pt x="22" y="41"/>
                  </a:cubicBezTo>
                  <a:cubicBezTo>
                    <a:pt x="18" y="36"/>
                    <a:pt x="11" y="28"/>
                    <a:pt x="11" y="28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B5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ṣ1ïḑé">
              <a:extLst>
                <a:ext uri="{FF2B5EF4-FFF2-40B4-BE49-F238E27FC236}">
                  <a16:creationId xmlns:a16="http://schemas.microsoft.com/office/drawing/2014/main" id="{4C04BC88-5B92-4EF5-8466-87848EC7D00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23025" y="4795838"/>
              <a:ext cx="203200" cy="146050"/>
            </a:xfrm>
            <a:custGeom>
              <a:avLst/>
              <a:gdLst>
                <a:gd name="T0" fmla="*/ 0 w 37"/>
                <a:gd name="T1" fmla="*/ 0 h 27"/>
                <a:gd name="T2" fmla="*/ 16 w 37"/>
                <a:gd name="T3" fmla="*/ 26 h 27"/>
                <a:gd name="T4" fmla="*/ 20 w 37"/>
                <a:gd name="T5" fmla="*/ 27 h 27"/>
                <a:gd name="T6" fmla="*/ 37 w 37"/>
                <a:gd name="T7" fmla="*/ 16 h 27"/>
                <a:gd name="T8" fmla="*/ 23 w 37"/>
                <a:gd name="T9" fmla="*/ 20 h 27"/>
                <a:gd name="T10" fmla="*/ 21 w 37"/>
                <a:gd name="T11" fmla="*/ 20 h 27"/>
                <a:gd name="T12" fmla="*/ 0 w 37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7">
                  <a:moveTo>
                    <a:pt x="0" y="0"/>
                  </a:moveTo>
                  <a:cubicBezTo>
                    <a:pt x="3" y="14"/>
                    <a:pt x="10" y="23"/>
                    <a:pt x="16" y="26"/>
                  </a:cubicBezTo>
                  <a:cubicBezTo>
                    <a:pt x="17" y="27"/>
                    <a:pt x="18" y="27"/>
                    <a:pt x="20" y="27"/>
                  </a:cubicBezTo>
                  <a:cubicBezTo>
                    <a:pt x="25" y="27"/>
                    <a:pt x="32" y="22"/>
                    <a:pt x="37" y="16"/>
                  </a:cubicBezTo>
                  <a:cubicBezTo>
                    <a:pt x="37" y="16"/>
                    <a:pt x="35" y="18"/>
                    <a:pt x="23" y="20"/>
                  </a:cubicBezTo>
                  <a:cubicBezTo>
                    <a:pt x="22" y="20"/>
                    <a:pt x="22" y="20"/>
                    <a:pt x="21" y="20"/>
                  </a:cubicBezTo>
                  <a:cubicBezTo>
                    <a:pt x="10" y="20"/>
                    <a:pt x="0" y="0"/>
                    <a:pt x="0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sḻíḓe">
              <a:extLst>
                <a:ext uri="{FF2B5EF4-FFF2-40B4-BE49-F238E27FC236}">
                  <a16:creationId xmlns:a16="http://schemas.microsoft.com/office/drawing/2014/main" id="{73E61D46-2FC8-4126-A3E3-6022EE4153D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70625" y="4391026"/>
              <a:ext cx="103188" cy="109538"/>
            </a:xfrm>
            <a:custGeom>
              <a:avLst/>
              <a:gdLst>
                <a:gd name="T0" fmla="*/ 10 w 19"/>
                <a:gd name="T1" fmla="*/ 0 h 20"/>
                <a:gd name="T2" fmla="*/ 10 w 19"/>
                <a:gd name="T3" fmla="*/ 9 h 20"/>
                <a:gd name="T4" fmla="*/ 0 w 19"/>
                <a:gd name="T5" fmla="*/ 14 h 20"/>
                <a:gd name="T6" fmla="*/ 6 w 19"/>
                <a:gd name="T7" fmla="*/ 20 h 20"/>
                <a:gd name="T8" fmla="*/ 15 w 19"/>
                <a:gd name="T9" fmla="*/ 16 h 20"/>
                <a:gd name="T10" fmla="*/ 10 w 19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0">
                  <a:moveTo>
                    <a:pt x="10" y="0"/>
                  </a:moveTo>
                  <a:cubicBezTo>
                    <a:pt x="10" y="0"/>
                    <a:pt x="10" y="6"/>
                    <a:pt x="10" y="9"/>
                  </a:cubicBezTo>
                  <a:cubicBezTo>
                    <a:pt x="9" y="12"/>
                    <a:pt x="0" y="14"/>
                    <a:pt x="0" y="14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12" y="18"/>
                    <a:pt x="15" y="16"/>
                  </a:cubicBezTo>
                  <a:cubicBezTo>
                    <a:pt x="19" y="14"/>
                    <a:pt x="10" y="0"/>
                    <a:pt x="10" y="0"/>
                  </a:cubicBezTo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îṡľîďè">
              <a:extLst>
                <a:ext uri="{FF2B5EF4-FFF2-40B4-BE49-F238E27FC236}">
                  <a16:creationId xmlns:a16="http://schemas.microsoft.com/office/drawing/2014/main" id="{2387C600-9250-469B-B12F-96EFE21C752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9613" y="4348163"/>
              <a:ext cx="33338" cy="53975"/>
            </a:xfrm>
            <a:custGeom>
              <a:avLst/>
              <a:gdLst>
                <a:gd name="T0" fmla="*/ 21 w 21"/>
                <a:gd name="T1" fmla="*/ 0 h 34"/>
                <a:gd name="T2" fmla="*/ 0 w 21"/>
                <a:gd name="T3" fmla="*/ 34 h 34"/>
                <a:gd name="T4" fmla="*/ 21 w 21"/>
                <a:gd name="T5" fmla="*/ 17 h 34"/>
                <a:gd name="T6" fmla="*/ 21 w 21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4">
                  <a:moveTo>
                    <a:pt x="21" y="0"/>
                  </a:moveTo>
                  <a:lnTo>
                    <a:pt x="0" y="34"/>
                  </a:lnTo>
                  <a:lnTo>
                    <a:pt x="21" y="17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D89B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ṩlîďè">
              <a:extLst>
                <a:ext uri="{FF2B5EF4-FFF2-40B4-BE49-F238E27FC236}">
                  <a16:creationId xmlns:a16="http://schemas.microsoft.com/office/drawing/2014/main" id="{D6746DD7-6FFE-4864-AA3F-532565E56B4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9613" y="4348163"/>
              <a:ext cx="33338" cy="53975"/>
            </a:xfrm>
            <a:custGeom>
              <a:avLst/>
              <a:gdLst>
                <a:gd name="T0" fmla="*/ 21 w 21"/>
                <a:gd name="T1" fmla="*/ 0 h 34"/>
                <a:gd name="T2" fmla="*/ 0 w 21"/>
                <a:gd name="T3" fmla="*/ 34 h 34"/>
                <a:gd name="T4" fmla="*/ 21 w 21"/>
                <a:gd name="T5" fmla="*/ 17 h 34"/>
                <a:gd name="T6" fmla="*/ 21 w 21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4">
                  <a:moveTo>
                    <a:pt x="21" y="0"/>
                  </a:moveTo>
                  <a:lnTo>
                    <a:pt x="0" y="34"/>
                  </a:lnTo>
                  <a:lnTo>
                    <a:pt x="21" y="17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76217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" dur="2000" fill="hold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2000" fill="hold"/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8D7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25" grpId="0" build="p"/>
      <p:bldP spid="127" grpId="0" build="p"/>
      <p:bldP spid="15" grpId="0" build="p"/>
      <p:bldP spid="16" grpId="0"/>
      <p:bldP spid="1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c1f5d4e4-dd9f-455b-9729-0f7f87a6a1b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FF0000"/>
      </a:accent1>
      <a:accent2>
        <a:srgbClr val="0078D7"/>
      </a:accent2>
      <a:accent3>
        <a:srgbClr val="30D1F6"/>
      </a:accent3>
      <a:accent4>
        <a:srgbClr val="FFC83D"/>
      </a:accent4>
      <a:accent5>
        <a:srgbClr val="A5A5A5"/>
      </a:accent5>
      <a:accent6>
        <a:srgbClr val="C9C9C9"/>
      </a:accent6>
      <a:hlink>
        <a:srgbClr val="FF0000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FF0000"/>
    </a:accent1>
    <a:accent2>
      <a:srgbClr val="0078D7"/>
    </a:accent2>
    <a:accent3>
      <a:srgbClr val="30D1F6"/>
    </a:accent3>
    <a:accent4>
      <a:srgbClr val="FFC83D"/>
    </a:accent4>
    <a:accent5>
      <a:srgbClr val="A5A5A5"/>
    </a:accent5>
    <a:accent6>
      <a:srgbClr val="C9C9C9"/>
    </a:accent6>
    <a:hlink>
      <a:srgbClr val="FF0000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10</TotalTime>
  <Words>129</Words>
  <Application>Microsoft Office PowerPoint</Application>
  <PresentationFormat>宽屏</PresentationFormat>
  <Paragraphs>37</Paragraphs>
  <Slides>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13" baseType="lpstr">
      <vt:lpstr>DengXian</vt:lpstr>
      <vt:lpstr>宋体</vt:lpstr>
      <vt:lpstr>Microsoft YaHei</vt:lpstr>
      <vt:lpstr>Microsoft YaHei</vt:lpstr>
      <vt:lpstr>Arial</vt:lpstr>
      <vt:lpstr>Calibri</vt:lpstr>
      <vt:lpstr>Wingdings</vt:lpstr>
      <vt:lpstr>主题5</vt:lpstr>
      <vt:lpstr>think-cell Slide</vt:lpstr>
      <vt:lpstr>if-else语句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hangzg</cp:lastModifiedBy>
  <cp:revision>13</cp:revision>
  <cp:lastPrinted>2018-09-09T16:00:00Z</cp:lastPrinted>
  <dcterms:created xsi:type="dcterms:W3CDTF">2018-09-09T16:00:00Z</dcterms:created>
  <dcterms:modified xsi:type="dcterms:W3CDTF">2019-12-31T05:5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